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2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notesSlides/notesSlide3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notesSlides/notesSlide4.xml" ContentType="application/vnd.openxmlformats-officedocument.presentationml.notesSl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notesSlides/notesSlide5.xml" ContentType="application/vnd.openxmlformats-officedocument.presentationml.notesSlid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notesSlides/notesSlide6.xml" ContentType="application/vnd.openxmlformats-officedocument.presentationml.notesSlid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7" r:id="rId1"/>
  </p:sldMasterIdLst>
  <p:notesMasterIdLst>
    <p:notesMasterId r:id="rId8"/>
  </p:notesMasterIdLst>
  <p:sldIdLst>
    <p:sldId id="397" r:id="rId2"/>
    <p:sldId id="399" r:id="rId3"/>
    <p:sldId id="392" r:id="rId4"/>
    <p:sldId id="395" r:id="rId5"/>
    <p:sldId id="396" r:id="rId6"/>
    <p:sldId id="391" r:id="rId7"/>
  </p:sldIdLst>
  <p:sldSz cx="8961438" cy="6721475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DE6B8"/>
    <a:srgbClr val="002C46"/>
    <a:srgbClr val="FDDA95"/>
    <a:srgbClr val="FFFFFF"/>
    <a:srgbClr val="FBC14E"/>
    <a:srgbClr val="EBEEF2"/>
    <a:srgbClr val="AABFD6"/>
    <a:srgbClr val="8497B0"/>
    <a:srgbClr val="657E9D"/>
    <a:srgbClr val="2F559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62686AB-AC24-4779-93E2-F40A42E73FFC}" v="77" dt="2021-06-05T17:13:31.346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83" d="100"/>
          <a:sy n="83" d="100"/>
        </p:scale>
        <p:origin x="1498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microsoft.com/office/2016/11/relationships/changesInfo" Target="changesInfos/changesInfo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Relationship Id="rId14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eul.Lee" userId="S::seul.lee@springboarddac.onmicrosoft.com::6747dec5-4c0f-484a-beef-4e6f31df112f" providerId="AD" clId="Web-{FA50E22A-578F-1BB8-E466-405403D84E08}"/>
    <pc:docChg chg="modSld">
      <pc:chgData name="Seul.Lee" userId="S::seul.lee@springboarddac.onmicrosoft.com::6747dec5-4c0f-484a-beef-4e6f31df112f" providerId="AD" clId="Web-{FA50E22A-578F-1BB8-E466-405403D84E08}" dt="2021-06-05T17:12:38.643" v="7" actId="20577"/>
      <pc:docMkLst>
        <pc:docMk/>
      </pc:docMkLst>
      <pc:sldChg chg="modSp">
        <pc:chgData name="Seul.Lee" userId="S::seul.lee@springboarddac.onmicrosoft.com::6747dec5-4c0f-484a-beef-4e6f31df112f" providerId="AD" clId="Web-{FA50E22A-578F-1BB8-E466-405403D84E08}" dt="2021-06-05T17:12:38.643" v="7" actId="20577"/>
        <pc:sldMkLst>
          <pc:docMk/>
          <pc:sldMk cId="44480560" sldId="391"/>
        </pc:sldMkLst>
        <pc:spChg chg="mod">
          <ac:chgData name="Seul.Lee" userId="S::seul.lee@springboarddac.onmicrosoft.com::6747dec5-4c0f-484a-beef-4e6f31df112f" providerId="AD" clId="Web-{FA50E22A-578F-1BB8-E466-405403D84E08}" dt="2021-06-05T17:12:38.643" v="7" actId="20577"/>
          <ac:spMkLst>
            <pc:docMk/>
            <pc:sldMk cId="44480560" sldId="391"/>
            <ac:spMk id="2" creationId="{F0E37C96-13BD-4F0C-B379-77591A183D9B}"/>
          </ac:spMkLst>
        </pc:spChg>
      </pc:sldChg>
    </pc:docChg>
  </pc:docChgLst>
  <pc:docChgLst>
    <pc:chgData name="Seul.Lee" userId="6747dec5-4c0f-484a-beef-4e6f31df112f" providerId="ADAL" clId="{462686AB-AC24-4779-93E2-F40A42E73FFC}"/>
    <pc:docChg chg="undo custSel modSld">
      <pc:chgData name="Seul.Lee" userId="6747dec5-4c0f-484a-beef-4e6f31df112f" providerId="ADAL" clId="{462686AB-AC24-4779-93E2-F40A42E73FFC}" dt="2021-06-09T02:47:44.598" v="1680" actId="20577"/>
      <pc:docMkLst>
        <pc:docMk/>
      </pc:docMkLst>
      <pc:sldChg chg="addSp delSp modSp mod">
        <pc:chgData name="Seul.Lee" userId="6747dec5-4c0f-484a-beef-4e6f31df112f" providerId="ADAL" clId="{462686AB-AC24-4779-93E2-F40A42E73FFC}" dt="2021-06-09T02:47:44.598" v="1680" actId="20577"/>
        <pc:sldMkLst>
          <pc:docMk/>
          <pc:sldMk cId="44480560" sldId="391"/>
        </pc:sldMkLst>
        <pc:spChg chg="mod">
          <ac:chgData name="Seul.Lee" userId="6747dec5-4c0f-484a-beef-4e6f31df112f" providerId="ADAL" clId="{462686AB-AC24-4779-93E2-F40A42E73FFC}" dt="2021-06-05T17:04:29.535" v="976" actId="20577"/>
          <ac:spMkLst>
            <pc:docMk/>
            <pc:sldMk cId="44480560" sldId="391"/>
            <ac:spMk id="2" creationId="{F0E37C96-13BD-4F0C-B379-77591A183D9B}"/>
          </ac:spMkLst>
        </pc:spChg>
        <pc:spChg chg="add del mod">
          <ac:chgData name="Seul.Lee" userId="6747dec5-4c0f-484a-beef-4e6f31df112f" providerId="ADAL" clId="{462686AB-AC24-4779-93E2-F40A42E73FFC}" dt="2021-06-05T17:06:13.023" v="997"/>
          <ac:spMkLst>
            <pc:docMk/>
            <pc:sldMk cId="44480560" sldId="391"/>
            <ac:spMk id="10" creationId="{E51E4023-88B9-499B-89F7-FDC9B6D9BF30}"/>
          </ac:spMkLst>
        </pc:spChg>
        <pc:spChg chg="add mod">
          <ac:chgData name="Seul.Lee" userId="6747dec5-4c0f-484a-beef-4e6f31df112f" providerId="ADAL" clId="{462686AB-AC24-4779-93E2-F40A42E73FFC}" dt="2021-06-09T02:47:44.598" v="1680" actId="20577"/>
          <ac:spMkLst>
            <pc:docMk/>
            <pc:sldMk cId="44480560" sldId="391"/>
            <ac:spMk id="11" creationId="{3477ADD9-B436-4F55-ACEC-AD9739E05251}"/>
          </ac:spMkLst>
        </pc:spChg>
        <pc:spChg chg="del mod">
          <ac:chgData name="Seul.Lee" userId="6747dec5-4c0f-484a-beef-4e6f31df112f" providerId="ADAL" clId="{462686AB-AC24-4779-93E2-F40A42E73FFC}" dt="2021-06-05T17:11:42.742" v="1675" actId="478"/>
          <ac:spMkLst>
            <pc:docMk/>
            <pc:sldMk cId="44480560" sldId="391"/>
            <ac:spMk id="30" creationId="{A9EFAD5F-5947-4F50-9D03-73E482BF7380}"/>
          </ac:spMkLst>
        </pc:spChg>
        <pc:spChg chg="del mod">
          <ac:chgData name="Seul.Lee" userId="6747dec5-4c0f-484a-beef-4e6f31df112f" providerId="ADAL" clId="{462686AB-AC24-4779-93E2-F40A42E73FFC}" dt="2021-06-05T17:06:16.326" v="999" actId="478"/>
          <ac:spMkLst>
            <pc:docMk/>
            <pc:sldMk cId="44480560" sldId="391"/>
            <ac:spMk id="31" creationId="{F3D0ED9C-5523-4B1C-A07E-11C1F219EC79}"/>
          </ac:spMkLst>
        </pc:spChg>
        <pc:graphicFrameChg chg="del">
          <ac:chgData name="Seul.Lee" userId="6747dec5-4c0f-484a-beef-4e6f31df112f" providerId="ADAL" clId="{462686AB-AC24-4779-93E2-F40A42E73FFC}" dt="2021-06-05T17:04:50.175" v="977" actId="478"/>
          <ac:graphicFrameMkLst>
            <pc:docMk/>
            <pc:sldMk cId="44480560" sldId="391"/>
            <ac:graphicFrameMk id="6" creationId="{4A55EAF1-669E-406B-B7F5-93D8A1F411D7}"/>
          </ac:graphicFrameMkLst>
        </pc:graphicFrameChg>
        <pc:graphicFrameChg chg="del">
          <ac:chgData name="Seul.Lee" userId="6747dec5-4c0f-484a-beef-4e6f31df112f" providerId="ADAL" clId="{462686AB-AC24-4779-93E2-F40A42E73FFC}" dt="2021-06-05T17:04:51.662" v="978" actId="478"/>
          <ac:graphicFrameMkLst>
            <pc:docMk/>
            <pc:sldMk cId="44480560" sldId="391"/>
            <ac:graphicFrameMk id="7" creationId="{A9F95668-2C5B-493A-AC1D-02E8131ACBA6}"/>
          </ac:graphicFrameMkLst>
        </pc:graphicFrameChg>
        <pc:graphicFrameChg chg="add mod">
          <ac:chgData name="Seul.Lee" userId="6747dec5-4c0f-484a-beef-4e6f31df112f" providerId="ADAL" clId="{462686AB-AC24-4779-93E2-F40A42E73FFC}" dt="2021-06-05T17:05:06.199" v="985" actId="1076"/>
          <ac:graphicFrameMkLst>
            <pc:docMk/>
            <pc:sldMk cId="44480560" sldId="391"/>
            <ac:graphicFrameMk id="8" creationId="{4A55EAF1-669E-406B-B7F5-93D8A1F411D7}"/>
          </ac:graphicFrameMkLst>
        </pc:graphicFrameChg>
        <pc:graphicFrameChg chg="add del mod">
          <ac:chgData name="Seul.Lee" userId="6747dec5-4c0f-484a-beef-4e6f31df112f" providerId="ADAL" clId="{462686AB-AC24-4779-93E2-F40A42E73FFC}" dt="2021-06-05T17:11:41.303" v="1674" actId="478"/>
          <ac:graphicFrameMkLst>
            <pc:docMk/>
            <pc:sldMk cId="44480560" sldId="391"/>
            <ac:graphicFrameMk id="9" creationId="{A9F95668-2C5B-493A-AC1D-02E8131ACBA6}"/>
          </ac:graphicFrameMkLst>
        </pc:graphicFrameChg>
      </pc:sldChg>
      <pc:sldChg chg="addSp delSp modSp mod">
        <pc:chgData name="Seul.Lee" userId="6747dec5-4c0f-484a-beef-4e6f31df112f" providerId="ADAL" clId="{462686AB-AC24-4779-93E2-F40A42E73FFC}" dt="2021-06-05T15:37:31.766" v="125" actId="14100"/>
        <pc:sldMkLst>
          <pc:docMk/>
          <pc:sldMk cId="2844286603" sldId="392"/>
        </pc:sldMkLst>
        <pc:graphicFrameChg chg="del">
          <ac:chgData name="Seul.Lee" userId="6747dec5-4c0f-484a-beef-4e6f31df112f" providerId="ADAL" clId="{462686AB-AC24-4779-93E2-F40A42E73FFC}" dt="2021-06-05T15:36:53.310" v="110" actId="478"/>
          <ac:graphicFrameMkLst>
            <pc:docMk/>
            <pc:sldMk cId="2844286603" sldId="392"/>
            <ac:graphicFrameMk id="6" creationId="{C0AD3C71-3F84-470A-A0C4-945B2EE61249}"/>
          </ac:graphicFrameMkLst>
        </pc:graphicFrameChg>
        <pc:graphicFrameChg chg="del">
          <ac:chgData name="Seul.Lee" userId="6747dec5-4c0f-484a-beef-4e6f31df112f" providerId="ADAL" clId="{462686AB-AC24-4779-93E2-F40A42E73FFC}" dt="2021-06-05T15:36:51.828" v="109" actId="478"/>
          <ac:graphicFrameMkLst>
            <pc:docMk/>
            <pc:sldMk cId="2844286603" sldId="392"/>
            <ac:graphicFrameMk id="7" creationId="{271C2D1A-A678-4C45-BA3E-D2167F71715C}"/>
          </ac:graphicFrameMkLst>
        </pc:graphicFrameChg>
        <pc:graphicFrameChg chg="add mod">
          <ac:chgData name="Seul.Lee" userId="6747dec5-4c0f-484a-beef-4e6f31df112f" providerId="ADAL" clId="{462686AB-AC24-4779-93E2-F40A42E73FFC}" dt="2021-06-05T15:37:05.840" v="117" actId="14100"/>
          <ac:graphicFrameMkLst>
            <pc:docMk/>
            <pc:sldMk cId="2844286603" sldId="392"/>
            <ac:graphicFrameMk id="9" creationId="{271C2D1A-A678-4C45-BA3E-D2167F71715C}"/>
          </ac:graphicFrameMkLst>
        </pc:graphicFrameChg>
        <pc:graphicFrameChg chg="add mod">
          <ac:chgData name="Seul.Lee" userId="6747dec5-4c0f-484a-beef-4e6f31df112f" providerId="ADAL" clId="{462686AB-AC24-4779-93E2-F40A42E73FFC}" dt="2021-06-05T15:37:31.766" v="125" actId="14100"/>
          <ac:graphicFrameMkLst>
            <pc:docMk/>
            <pc:sldMk cId="2844286603" sldId="392"/>
            <ac:graphicFrameMk id="10" creationId="{C0AD3C71-3F84-470A-A0C4-945B2EE61249}"/>
          </ac:graphicFrameMkLst>
        </pc:graphicFrameChg>
      </pc:sldChg>
      <pc:sldChg chg="addSp delSp modSp mod">
        <pc:chgData name="Seul.Lee" userId="6747dec5-4c0f-484a-beef-4e6f31df112f" providerId="ADAL" clId="{462686AB-AC24-4779-93E2-F40A42E73FFC}" dt="2021-06-05T16:59:59.869" v="609" actId="20577"/>
        <pc:sldMkLst>
          <pc:docMk/>
          <pc:sldMk cId="911419877" sldId="395"/>
        </pc:sldMkLst>
        <pc:spChg chg="mod">
          <ac:chgData name="Seul.Lee" userId="6747dec5-4c0f-484a-beef-4e6f31df112f" providerId="ADAL" clId="{462686AB-AC24-4779-93E2-F40A42E73FFC}" dt="2021-06-05T16:18:47.175" v="246" actId="20577"/>
          <ac:spMkLst>
            <pc:docMk/>
            <pc:sldMk cId="911419877" sldId="395"/>
            <ac:spMk id="2" creationId="{F0E37C96-13BD-4F0C-B379-77591A183D9B}"/>
          </ac:spMkLst>
        </pc:spChg>
        <pc:spChg chg="add mod">
          <ac:chgData name="Seul.Lee" userId="6747dec5-4c0f-484a-beef-4e6f31df112f" providerId="ADAL" clId="{462686AB-AC24-4779-93E2-F40A42E73FFC}" dt="2021-06-05T16:59:59.869" v="609" actId="20577"/>
          <ac:spMkLst>
            <pc:docMk/>
            <pc:sldMk cId="911419877" sldId="395"/>
            <ac:spMk id="13" creationId="{F52997BD-4180-44D1-A377-A7D348F03ABD}"/>
          </ac:spMkLst>
        </pc:spChg>
        <pc:graphicFrameChg chg="add mod">
          <ac:chgData name="Seul.Lee" userId="6747dec5-4c0f-484a-beef-4e6f31df112f" providerId="ADAL" clId="{462686AB-AC24-4779-93E2-F40A42E73FFC}" dt="2021-06-05T16:14:21.609" v="165" actId="14100"/>
          <ac:graphicFrameMkLst>
            <pc:docMk/>
            <pc:sldMk cId="911419877" sldId="395"/>
            <ac:graphicFrameMk id="7" creationId="{5BB71A51-8F4F-4AE9-9B23-AA4666F4CB98}"/>
          </ac:graphicFrameMkLst>
        </pc:graphicFrameChg>
        <pc:graphicFrameChg chg="add mod">
          <ac:chgData name="Seul.Lee" userId="6747dec5-4c0f-484a-beef-4e6f31df112f" providerId="ADAL" clId="{462686AB-AC24-4779-93E2-F40A42E73FFC}" dt="2021-06-05T16:19:15.241" v="251" actId="1076"/>
          <ac:graphicFrameMkLst>
            <pc:docMk/>
            <pc:sldMk cId="911419877" sldId="395"/>
            <ac:graphicFrameMk id="8" creationId="{1B80D748-1BA6-4AB5-AA67-223BDAC38BA6}"/>
          </ac:graphicFrameMkLst>
        </pc:graphicFrameChg>
        <pc:graphicFrameChg chg="add mod">
          <ac:chgData name="Seul.Lee" userId="6747dec5-4c0f-484a-beef-4e6f31df112f" providerId="ADAL" clId="{462686AB-AC24-4779-93E2-F40A42E73FFC}" dt="2021-06-05T16:15:29.592" v="184" actId="1076"/>
          <ac:graphicFrameMkLst>
            <pc:docMk/>
            <pc:sldMk cId="911419877" sldId="395"/>
            <ac:graphicFrameMk id="9" creationId="{FD4996F1-19D4-464F-80CD-35A67E807EC6}"/>
          </ac:graphicFrameMkLst>
        </pc:graphicFrameChg>
        <pc:graphicFrameChg chg="del">
          <ac:chgData name="Seul.Lee" userId="6747dec5-4c0f-484a-beef-4e6f31df112f" providerId="ADAL" clId="{462686AB-AC24-4779-93E2-F40A42E73FFC}" dt="2021-06-05T15:36:40.572" v="107" actId="478"/>
          <ac:graphicFrameMkLst>
            <pc:docMk/>
            <pc:sldMk cId="911419877" sldId="395"/>
            <ac:graphicFrameMk id="10" creationId="{5BB71A51-8F4F-4AE9-9B23-AA4666F4CB98}"/>
          </ac:graphicFrameMkLst>
        </pc:graphicFrameChg>
        <pc:graphicFrameChg chg="del">
          <ac:chgData name="Seul.Lee" userId="6747dec5-4c0f-484a-beef-4e6f31df112f" providerId="ADAL" clId="{462686AB-AC24-4779-93E2-F40A42E73FFC}" dt="2021-06-05T15:36:39.587" v="106" actId="478"/>
          <ac:graphicFrameMkLst>
            <pc:docMk/>
            <pc:sldMk cId="911419877" sldId="395"/>
            <ac:graphicFrameMk id="11" creationId="{1B80D748-1BA6-4AB5-AA67-223BDAC38BA6}"/>
          </ac:graphicFrameMkLst>
        </pc:graphicFrameChg>
        <pc:graphicFrameChg chg="del">
          <ac:chgData name="Seul.Lee" userId="6747dec5-4c0f-484a-beef-4e6f31df112f" providerId="ADAL" clId="{462686AB-AC24-4779-93E2-F40A42E73FFC}" dt="2021-06-05T15:36:43.546" v="108" actId="478"/>
          <ac:graphicFrameMkLst>
            <pc:docMk/>
            <pc:sldMk cId="911419877" sldId="395"/>
            <ac:graphicFrameMk id="12" creationId="{FD4996F1-19D4-464F-80CD-35A67E807EC6}"/>
          </ac:graphicFrameMkLst>
        </pc:graphicFrameChg>
      </pc:sldChg>
      <pc:sldChg chg="addSp modSp mod">
        <pc:chgData name="Seul.Lee" userId="6747dec5-4c0f-484a-beef-4e6f31df112f" providerId="ADAL" clId="{462686AB-AC24-4779-93E2-F40A42E73FFC}" dt="2021-06-09T02:46:25.765" v="1679" actId="20577"/>
        <pc:sldMkLst>
          <pc:docMk/>
          <pc:sldMk cId="2776998344" sldId="396"/>
        </pc:sldMkLst>
        <pc:spChg chg="add mod">
          <ac:chgData name="Seul.Lee" userId="6747dec5-4c0f-484a-beef-4e6f31df112f" providerId="ADAL" clId="{462686AB-AC24-4779-93E2-F40A42E73FFC}" dt="2021-06-09T02:46:25.765" v="1679" actId="20577"/>
          <ac:spMkLst>
            <pc:docMk/>
            <pc:sldMk cId="2776998344" sldId="396"/>
            <ac:spMk id="9" creationId="{F666D2CD-79B6-4642-AC92-42E30465ED47}"/>
          </ac:spMkLst>
        </pc:spChg>
      </pc:sldChg>
      <pc:sldChg chg="modSp mod">
        <pc:chgData name="Seul.Lee" userId="6747dec5-4c0f-484a-beef-4e6f31df112f" providerId="ADAL" clId="{462686AB-AC24-4779-93E2-F40A42E73FFC}" dt="2021-06-09T02:42:49.977" v="1678" actId="20577"/>
        <pc:sldMkLst>
          <pc:docMk/>
          <pc:sldMk cId="667657664" sldId="399"/>
        </pc:sldMkLst>
        <pc:spChg chg="mod">
          <ac:chgData name="Seul.Lee" userId="6747dec5-4c0f-484a-beef-4e6f31df112f" providerId="ADAL" clId="{462686AB-AC24-4779-93E2-F40A42E73FFC}" dt="2021-06-09T02:42:49.977" v="1678" actId="20577"/>
          <ac:spMkLst>
            <pc:docMk/>
            <pc:sldMk cId="667657664" sldId="399"/>
            <ac:spMk id="10" creationId="{CF20D5C5-3ADB-4E88-A129-6F5F6A65419A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https://springboarddac-my.sharepoint.com/personal/seul_lee_springboarddac_onmicrosoft_com/Documents/Southern%20Water%20Corp%20Financial%20Case%20Study%20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oleObject" Target="https://springboarddac-my.sharepoint.com/personal/seul_lee_springboarddac_onmicrosoft_com/Documents/Southern%20Water%20Corp%20Financial%20Case%20Study%20.xlsx" TargetMode="External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oleObject" Target="https://springboarddac-my.sharepoint.com/personal/seul_lee_springboarddac_onmicrosoft_com/Documents/Southern%20Water%20Corp%20Financial%20Case%20Study%20.xlsx" TargetMode="External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oleObject" Target="https://springboarddac-my.sharepoint.com/personal/seul_lee_springboarddac_onmicrosoft_com/Documents/Southern%20Water%20Corp%20Financial%20Case%20Study%20.xlsx" TargetMode="External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oleObject" Target="https://springboarddac-my.sharepoint.com/personal/seul_lee_springboarddac_onmicrosoft_com/Documents/Southern%20Water%20Corp%20Financial%20Case%20Study%20.xlsx" TargetMode="External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oleObject" Target="https://springboarddac-my.sharepoint.com/personal/seul_lee_springboarddac_onmicrosoft_com/Documents/Southern%20Water%20Corp%20Financial%20Case%20Study%20.xlsx" TargetMode="External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oleObject" Target="https://springboarddac-my.sharepoint.com/personal/seul_lee_springboarddac_onmicrosoft_com/Documents/Southern%20Water%20Corp%20Financial%20Case%20Study%20.xlsx" TargetMode="External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https://springboarddac-my.sharepoint.com/personal/seul_lee_springboarddac_onmicrosoft_com/Documents/Southern%20Water%20Corp%20Financial%20Case%20Study%20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https://springboarddac-my.sharepoint.com/personal/seul_lee_springboarddac_onmicrosoft_com/Documents/Southern%20Water%20Corp%20Financial%20Case%20Study%20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https://springboarddac-my.sharepoint.com/personal/seul_lee_springboarddac_onmicrosoft_com/Documents/Southern%20Water%20Corp%20Financial%20Case%20Study%20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https://springboarddac-my.sharepoint.com/personal/seul_lee_springboarddac_onmicrosoft_com/Documents/Southern%20Water%20Corp%20Financial%20Case%20Study%20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https://springboarddac-my.sharepoint.com/personal/seul_lee_springboarddac_onmicrosoft_com/Documents/Southern%20Water%20Corp%20Financial%20Case%20Study%20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https://springboarddac-my.sharepoint.com/personal/seul_lee_springboarddac_onmicrosoft_com/Documents/Southern%20Water%20Corp%20Financial%20Case%20Study%20.xlsx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https://springboarddac-my.sharepoint.com/personal/seul_lee_springboarddac_onmicrosoft_com/Documents/Southern%20Water%20Corp%20Financial%20Case%20Study%20.xlsx" TargetMode="External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oleObject" Target="https://springboarddac-my.sharepoint.com/personal/seul_lee_springboarddac_onmicrosoft_com/Documents/Southern%20Water%20Corp%20Financial%20Case%20Study%20.xlsx" TargetMode="External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050"/>
              <a:t>Overall% contribution of each customer segment</a:t>
            </a:r>
          </a:p>
        </c:rich>
      </c:tx>
      <c:layout>
        <c:manualLayout>
          <c:xMode val="edge"/>
          <c:yMode val="edge"/>
          <c:x val="0.11309416478904964"/>
          <c:y val="2.42061679348962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cap="all" spc="120" normalizeH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ko-KR"/>
        </a:p>
      </c:txPr>
    </c:title>
    <c:autoTitleDeleted val="0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stacked"/>
        <c:varyColors val="0"/>
        <c:ser>
          <c:idx val="0"/>
          <c:order val="0"/>
          <c:tx>
            <c:strRef>
              <c:f>'Revenue Analysis'!$B$60</c:f>
              <c:strCache>
                <c:ptCount val="1"/>
                <c:pt idx="0">
                  <c:v>001 Private Water Hedge Sale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ko-K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Revenue Analysis'!$A$61:$A$63</c:f>
              <c:strCache>
                <c:ptCount val="3"/>
                <c:pt idx="0">
                  <c:v>Kootha</c:v>
                </c:pt>
                <c:pt idx="1">
                  <c:v>Surjek</c:v>
                </c:pt>
                <c:pt idx="2">
                  <c:v>Jutik</c:v>
                </c:pt>
              </c:strCache>
            </c:strRef>
          </c:cat>
          <c:val>
            <c:numRef>
              <c:f>'Revenue Analysis'!$B$61:$B$63</c:f>
              <c:numCache>
                <c:formatCode>0.0%</c:formatCode>
                <c:ptCount val="3"/>
                <c:pt idx="0">
                  <c:v>0.52320475368890484</c:v>
                </c:pt>
                <c:pt idx="1">
                  <c:v>0.40764341953130878</c:v>
                </c:pt>
                <c:pt idx="2">
                  <c:v>0.414629988853371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85-4F98-BB74-F432AF579BD2}"/>
            </c:ext>
          </c:extLst>
        </c:ser>
        <c:ser>
          <c:idx val="1"/>
          <c:order val="1"/>
          <c:tx>
            <c:strRef>
              <c:f>'Revenue Analysis'!$C$60</c:f>
              <c:strCache>
                <c:ptCount val="1"/>
                <c:pt idx="0">
                  <c:v>002 Public Sale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ko-K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Revenue Analysis'!$A$61:$A$63</c:f>
              <c:strCache>
                <c:ptCount val="3"/>
                <c:pt idx="0">
                  <c:v>Kootha</c:v>
                </c:pt>
                <c:pt idx="1">
                  <c:v>Surjek</c:v>
                </c:pt>
                <c:pt idx="2">
                  <c:v>Jutik</c:v>
                </c:pt>
              </c:strCache>
            </c:strRef>
          </c:cat>
          <c:val>
            <c:numRef>
              <c:f>'Revenue Analysis'!$C$61:$C$63</c:f>
              <c:numCache>
                <c:formatCode>0.0%</c:formatCode>
                <c:ptCount val="3"/>
                <c:pt idx="0">
                  <c:v>0.25754754000336344</c:v>
                </c:pt>
                <c:pt idx="1">
                  <c:v>0.34887778413286691</c:v>
                </c:pt>
                <c:pt idx="2">
                  <c:v>0.354980857665226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D85-4F98-BB74-F432AF579BD2}"/>
            </c:ext>
          </c:extLst>
        </c:ser>
        <c:ser>
          <c:idx val="2"/>
          <c:order val="2"/>
          <c:tx>
            <c:strRef>
              <c:f>'Revenue Analysis'!$D$60</c:f>
              <c:strCache>
                <c:ptCount val="1"/>
                <c:pt idx="0">
                  <c:v>003 Residential Sales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ko-K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Revenue Analysis'!$A$61:$A$63</c:f>
              <c:strCache>
                <c:ptCount val="3"/>
                <c:pt idx="0">
                  <c:v>Kootha</c:v>
                </c:pt>
                <c:pt idx="1">
                  <c:v>Surjek</c:v>
                </c:pt>
                <c:pt idx="2">
                  <c:v>Jutik</c:v>
                </c:pt>
              </c:strCache>
            </c:strRef>
          </c:cat>
          <c:val>
            <c:numRef>
              <c:f>'Revenue Analysis'!$D$61:$D$63</c:f>
              <c:numCache>
                <c:formatCode>0.0%</c:formatCode>
                <c:ptCount val="3"/>
                <c:pt idx="0">
                  <c:v>0.21924770630773166</c:v>
                </c:pt>
                <c:pt idx="1">
                  <c:v>0.24347879633582434</c:v>
                </c:pt>
                <c:pt idx="2">
                  <c:v>0.230389153481402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D85-4F98-BB74-F432AF579BD2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9"/>
        <c:shape val="box"/>
        <c:axId val="144275903"/>
        <c:axId val="144264255"/>
        <c:axId val="0"/>
      </c:bar3DChart>
      <c:catAx>
        <c:axId val="144275903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ko-KR"/>
          </a:p>
        </c:txPr>
        <c:crossAx val="144264255"/>
        <c:crosses val="autoZero"/>
        <c:auto val="1"/>
        <c:lblAlgn val="ctr"/>
        <c:lblOffset val="100"/>
        <c:noMultiLvlLbl val="0"/>
      </c:catAx>
      <c:valAx>
        <c:axId val="144264255"/>
        <c:scaling>
          <c:orientation val="minMax"/>
        </c:scaling>
        <c:delete val="1"/>
        <c:axPos val="l"/>
        <c:numFmt formatCode="0.0%" sourceLinked="1"/>
        <c:majorTickMark val="none"/>
        <c:minorTickMark val="none"/>
        <c:tickLblPos val="nextTo"/>
        <c:crossAx val="14427590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ko-K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ko-KR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0" i="0" u="none" strike="noStrike" kern="1200" cap="none" spc="5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pPr>
            <a:r>
              <a:rPr lang="en-US" sz="1200"/>
              <a:t>Jutik </a:t>
            </a:r>
            <a:r>
              <a:rPr lang="en-US" altLang="ko-KR" sz="1200" b="0" i="0" u="none" strike="noStrike" cap="none" normalizeH="0" baseline="0">
                <a:effectLst/>
              </a:rPr>
              <a:t>Expenses (2013- July - 2014 June)</a:t>
            </a:r>
            <a:endParaRPr lang="en-US" sz="120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cap="none" spc="50" normalizeH="0" baseline="0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+mj-ea"/>
              <a:cs typeface="+mj-cs"/>
            </a:defRPr>
          </a:pPr>
          <a:endParaRPr lang="ko-KR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>
                <a:alpha val="70000"/>
              </a:schemeClr>
            </a:solidFill>
            <a:ln>
              <a:noFill/>
            </a:ln>
            <a:effectLst/>
          </c:spPr>
          <c:invertIfNegative val="0"/>
          <c:dLbls>
            <c:numFmt formatCode="&quot;$&quot;#.##,,&quot; M&quot;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ko-K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Expenses Analysis'!$D$35:$D$42</c:f>
              <c:strCache>
                <c:ptCount val="8"/>
                <c:pt idx="0">
                  <c:v>Chem-Exp (001)</c:v>
                </c:pt>
                <c:pt idx="1">
                  <c:v>Utility-Exp (002) - Heating</c:v>
                </c:pt>
                <c:pt idx="2">
                  <c:v>Utility-Exp (002) - Electricity</c:v>
                </c:pt>
                <c:pt idx="3">
                  <c:v>Plant Maintenance (001)</c:v>
                </c:pt>
                <c:pt idx="4">
                  <c:v>Plant Outages (002)</c:v>
                </c:pt>
                <c:pt idx="5">
                  <c:v>Plant Op. Costs (003)</c:v>
                </c:pt>
                <c:pt idx="6">
                  <c:v>Plant Admin Costs (004)</c:v>
                </c:pt>
                <c:pt idx="7">
                  <c:v>Labour-Costs (001)</c:v>
                </c:pt>
              </c:strCache>
            </c:strRef>
          </c:cat>
          <c:val>
            <c:numRef>
              <c:f>'Expenses Analysis'!$R$35:$R$42</c:f>
              <c:numCache>
                <c:formatCode>"$"#,##0.00;[Red]\-"$"#,##0.00</c:formatCode>
                <c:ptCount val="8"/>
                <c:pt idx="0">
                  <c:v>21961819.498855624</c:v>
                </c:pt>
                <c:pt idx="1">
                  <c:v>10834063.805491872</c:v>
                </c:pt>
                <c:pt idx="2">
                  <c:v>10031540.560640626</c:v>
                </c:pt>
                <c:pt idx="3">
                  <c:v>8667251.0443934985</c:v>
                </c:pt>
                <c:pt idx="4">
                  <c:v>2219902.8413250004</c:v>
                </c:pt>
                <c:pt idx="5">
                  <c:v>5505359.0464859996</c:v>
                </c:pt>
                <c:pt idx="6">
                  <c:v>1864718.386713</c:v>
                </c:pt>
                <c:pt idx="7">
                  <c:v>29638834.0958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B09-480F-B241-20CC3EDE620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25"/>
        <c:axId val="1821980847"/>
        <c:axId val="1821981263"/>
      </c:barChart>
      <c:catAx>
        <c:axId val="182198084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587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cap="none" spc="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ko-KR"/>
          </a:p>
        </c:txPr>
        <c:crossAx val="1821981263"/>
        <c:crosses val="autoZero"/>
        <c:auto val="1"/>
        <c:lblAlgn val="ctr"/>
        <c:lblOffset val="100"/>
        <c:noMultiLvlLbl val="0"/>
      </c:catAx>
      <c:valAx>
        <c:axId val="182198126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5000"/>
                  <a:lumOff val="95000"/>
                </a:schemeClr>
              </a:solidFill>
              <a:round/>
            </a:ln>
            <a:effectLst/>
          </c:spPr>
        </c:majorGridlines>
        <c:numFmt formatCode="&quot;$&quot;#.##,,&quot; M&quot;;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spc="2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ko-KR"/>
          </a:p>
        </c:txPr>
        <c:crossAx val="182198084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ko-KR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ko-KR" sz="1200"/>
              <a:t>Kootha Chemical Expenditure vs. Water Production</a:t>
            </a:r>
            <a:r>
              <a:rPr lang="en-US" altLang="ko-KR" sz="1200" baseline="0"/>
              <a:t> Actuals</a:t>
            </a:r>
            <a:endParaRPr lang="en-US" altLang="ko-KR" sz="120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ko-KR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Expenses Analysis'!$E$105</c:f>
              <c:strCache>
                <c:ptCount val="1"/>
                <c:pt idx="0">
                  <c:v>Chem-Exp (001)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'Expenses Analysis'!$F$103:$Q$103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xpenses Analysis'!$F$105:$Q$105</c:f>
              <c:numCache>
                <c:formatCode>"$"#,##0.00;[Red]\-"$"#,##0.00</c:formatCode>
                <c:ptCount val="12"/>
                <c:pt idx="0">
                  <c:v>593751.84077137313</c:v>
                </c:pt>
                <c:pt idx="1">
                  <c:v>820393.03401412489</c:v>
                </c:pt>
                <c:pt idx="2">
                  <c:v>642291.58212862327</c:v>
                </c:pt>
                <c:pt idx="3">
                  <c:v>609639.97288837493</c:v>
                </c:pt>
                <c:pt idx="4">
                  <c:v>626073.16897124995</c:v>
                </c:pt>
                <c:pt idx="5">
                  <c:v>602153.37789750006</c:v>
                </c:pt>
                <c:pt idx="6">
                  <c:v>1146143.9846999997</c:v>
                </c:pt>
                <c:pt idx="7">
                  <c:v>964931.83751249989</c:v>
                </c:pt>
                <c:pt idx="8">
                  <c:v>962733.95790000004</c:v>
                </c:pt>
                <c:pt idx="9">
                  <c:v>964825.21760624985</c:v>
                </c:pt>
                <c:pt idx="10">
                  <c:v>1024534.78359375</c:v>
                </c:pt>
                <c:pt idx="11">
                  <c:v>1168045.225668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547-4394-A28C-F6470F2C491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804922767"/>
        <c:axId val="1804923183"/>
      </c:barChart>
      <c:lineChart>
        <c:grouping val="standard"/>
        <c:varyColors val="0"/>
        <c:ser>
          <c:idx val="1"/>
          <c:order val="1"/>
          <c:tx>
            <c:strRef>
              <c:f>'Expenses Analysis'!$E$108</c:f>
              <c:strCache>
                <c:ptCount val="1"/>
                <c:pt idx="0">
                  <c:v>None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'Expenses Analysis'!$F$103:$Q$103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xpenses Analysis'!$F$108:$Q$108</c:f>
              <c:numCache>
                <c:formatCode>0.00_);[Red]\(0.00\)</c:formatCode>
                <c:ptCount val="12"/>
                <c:pt idx="0">
                  <c:v>181.933291</c:v>
                </c:pt>
                <c:pt idx="1">
                  <c:v>187.44394299999999</c:v>
                </c:pt>
                <c:pt idx="2">
                  <c:v>184.77365699999999</c:v>
                </c:pt>
                <c:pt idx="3">
                  <c:v>191.54109299999999</c:v>
                </c:pt>
                <c:pt idx="4">
                  <c:v>98.096062000000003</c:v>
                </c:pt>
                <c:pt idx="5">
                  <c:v>185.30685299999999</c:v>
                </c:pt>
                <c:pt idx="6">
                  <c:v>186.90143900000001</c:v>
                </c:pt>
                <c:pt idx="7">
                  <c:v>158.58676500000001</c:v>
                </c:pt>
                <c:pt idx="8">
                  <c:v>191.40367599999999</c:v>
                </c:pt>
                <c:pt idx="9">
                  <c:v>171.057864</c:v>
                </c:pt>
                <c:pt idx="10">
                  <c:v>169.28699900000001</c:v>
                </c:pt>
                <c:pt idx="11">
                  <c:v>142.508716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547-4394-A28C-F6470F2C491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804919023"/>
        <c:axId val="1804925679"/>
      </c:lineChart>
      <c:dateAx>
        <c:axId val="1804922767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ko-KR"/>
          </a:p>
        </c:txPr>
        <c:crossAx val="1804923183"/>
        <c:crosses val="autoZero"/>
        <c:auto val="1"/>
        <c:lblOffset val="100"/>
        <c:baseTimeUnit val="months"/>
      </c:dateAx>
      <c:valAx>
        <c:axId val="180492318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.00;[Red]\-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ko-KR"/>
          </a:p>
        </c:txPr>
        <c:crossAx val="1804922767"/>
        <c:crosses val="autoZero"/>
        <c:crossBetween val="between"/>
      </c:valAx>
      <c:valAx>
        <c:axId val="1804925679"/>
        <c:scaling>
          <c:orientation val="minMax"/>
        </c:scaling>
        <c:delete val="0"/>
        <c:axPos val="r"/>
        <c:numFmt formatCode="0.00_);[Red]\(0.00\)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ko-KR"/>
          </a:p>
        </c:txPr>
        <c:crossAx val="1804919023"/>
        <c:crosses val="max"/>
        <c:crossBetween val="between"/>
      </c:valAx>
      <c:dateAx>
        <c:axId val="1804919023"/>
        <c:scaling>
          <c:orientation val="minMax"/>
        </c:scaling>
        <c:delete val="1"/>
        <c:axPos val="b"/>
        <c:numFmt formatCode="mmm\-yy" sourceLinked="1"/>
        <c:majorTickMark val="out"/>
        <c:minorTickMark val="none"/>
        <c:tickLblPos val="nextTo"/>
        <c:crossAx val="1804925679"/>
        <c:crosses val="autoZero"/>
        <c:auto val="1"/>
        <c:lblOffset val="100"/>
        <c:baseTimeUnit val="months"/>
      </c:date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ko-K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ko-KR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1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ko-KR" sz="1100"/>
              <a:t>Surjek </a:t>
            </a:r>
            <a:r>
              <a:rPr lang="en-US" altLang="ko-KR" sz="1100" b="0" i="0" u="none" strike="noStrike" baseline="0">
                <a:effectLst/>
              </a:rPr>
              <a:t>Chemical Expenditure vs. Water Production Actuals</a:t>
            </a:r>
            <a:endParaRPr lang="en-US" altLang="ko-KR" sz="110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ko-KR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Expenses Analysis'!$E$106</c:f>
              <c:strCache>
                <c:ptCount val="1"/>
                <c:pt idx="0">
                  <c:v>Chem-Exp (001)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'Expenses Analysis'!$F$103:$Q$103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xpenses Analysis'!$F$106:$Q$106</c:f>
              <c:numCache>
                <c:formatCode>"$"#,##0.00;[Red]\-"$"#,##0.00</c:formatCode>
                <c:ptCount val="12"/>
                <c:pt idx="0">
                  <c:v>2533034.5131168002</c:v>
                </c:pt>
                <c:pt idx="1">
                  <c:v>3051574.1625600001</c:v>
                </c:pt>
                <c:pt idx="2">
                  <c:v>3084202.7580672004</c:v>
                </c:pt>
                <c:pt idx="3">
                  <c:v>4135202.765971201</c:v>
                </c:pt>
                <c:pt idx="4">
                  <c:v>4473275.8948415993</c:v>
                </c:pt>
                <c:pt idx="5">
                  <c:v>3464957.9260800011</c:v>
                </c:pt>
                <c:pt idx="6">
                  <c:v>4049642.8266000003</c:v>
                </c:pt>
                <c:pt idx="7">
                  <c:v>4767948.2214000002</c:v>
                </c:pt>
                <c:pt idx="8">
                  <c:v>4346722.8083999995</c:v>
                </c:pt>
                <c:pt idx="9">
                  <c:v>4671541.1274000006</c:v>
                </c:pt>
                <c:pt idx="10">
                  <c:v>5478104.6040000012</c:v>
                </c:pt>
                <c:pt idx="11">
                  <c:v>2269805.16672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5AC-4AA1-B647-FDD41969CE7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755329055"/>
        <c:axId val="1755328639"/>
      </c:barChart>
      <c:lineChart>
        <c:grouping val="standard"/>
        <c:varyColors val="0"/>
        <c:ser>
          <c:idx val="1"/>
          <c:order val="1"/>
          <c:tx>
            <c:strRef>
              <c:f>'Expenses Analysis'!$E$109</c:f>
              <c:strCache>
                <c:ptCount val="1"/>
                <c:pt idx="0">
                  <c:v>None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'Expenses Analysis'!$F$103:$Q$103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xpenses Analysis'!$F$109:$Q$109</c:f>
              <c:numCache>
                <c:formatCode>0.00_);[Red]\(0.00\)</c:formatCode>
                <c:ptCount val="12"/>
                <c:pt idx="0">
                  <c:v>214.968999</c:v>
                </c:pt>
                <c:pt idx="1">
                  <c:v>228.199051</c:v>
                </c:pt>
                <c:pt idx="2">
                  <c:v>216.53646700000002</c:v>
                </c:pt>
                <c:pt idx="3">
                  <c:v>236.760276</c:v>
                </c:pt>
                <c:pt idx="4">
                  <c:v>232.052864</c:v>
                </c:pt>
                <c:pt idx="5">
                  <c:v>240.21016</c:v>
                </c:pt>
                <c:pt idx="6">
                  <c:v>288.160549</c:v>
                </c:pt>
                <c:pt idx="7">
                  <c:v>306.884524</c:v>
                </c:pt>
                <c:pt idx="8">
                  <c:v>367.65100600000005</c:v>
                </c:pt>
                <c:pt idx="9">
                  <c:v>351.99016599999999</c:v>
                </c:pt>
                <c:pt idx="10">
                  <c:v>362.822</c:v>
                </c:pt>
                <c:pt idx="11">
                  <c:v>260.3122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5AC-4AA1-B647-FDD41969CE7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321326399"/>
        <c:axId val="1321312671"/>
      </c:lineChart>
      <c:dateAx>
        <c:axId val="1755329055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ko-KR"/>
          </a:p>
        </c:txPr>
        <c:crossAx val="1755328639"/>
        <c:crosses val="autoZero"/>
        <c:auto val="1"/>
        <c:lblOffset val="100"/>
        <c:baseTimeUnit val="months"/>
      </c:dateAx>
      <c:valAx>
        <c:axId val="175532863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.00;[Red]\-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ko-KR"/>
          </a:p>
        </c:txPr>
        <c:crossAx val="1755329055"/>
        <c:crosses val="autoZero"/>
        <c:crossBetween val="between"/>
      </c:valAx>
      <c:valAx>
        <c:axId val="1321312671"/>
        <c:scaling>
          <c:orientation val="minMax"/>
        </c:scaling>
        <c:delete val="0"/>
        <c:axPos val="r"/>
        <c:numFmt formatCode="0.00_);[Red]\(0.00\)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ko-KR"/>
          </a:p>
        </c:txPr>
        <c:crossAx val="1321326399"/>
        <c:crosses val="max"/>
        <c:crossBetween val="between"/>
      </c:valAx>
      <c:dateAx>
        <c:axId val="1321326399"/>
        <c:scaling>
          <c:orientation val="minMax"/>
        </c:scaling>
        <c:delete val="1"/>
        <c:axPos val="b"/>
        <c:numFmt formatCode="mmm\-yy" sourceLinked="1"/>
        <c:majorTickMark val="out"/>
        <c:minorTickMark val="none"/>
        <c:tickLblPos val="nextTo"/>
        <c:crossAx val="1321312671"/>
        <c:crosses val="autoZero"/>
        <c:auto val="1"/>
        <c:lblOffset val="100"/>
        <c:baseTimeUnit val="months"/>
      </c:date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ko-K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ko-KR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1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ko-KR" sz="1100"/>
              <a:t>Jutik </a:t>
            </a:r>
            <a:r>
              <a:rPr lang="en-US" altLang="ko-KR" sz="1100" b="0" i="0" u="none" strike="noStrike" baseline="0">
                <a:effectLst/>
              </a:rPr>
              <a:t>Chemical Expenditure vs. Water Production Actuals</a:t>
            </a:r>
            <a:endParaRPr lang="en-US" altLang="ko-KR" sz="110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ko-KR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Expenses Analysis'!$E$107</c:f>
              <c:strCache>
                <c:ptCount val="1"/>
                <c:pt idx="0">
                  <c:v>Chem-Exp (001)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'Expenses Analysis'!$F$103:$Q$103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xpenses Analysis'!$F$107:$Q$107</c:f>
              <c:numCache>
                <c:formatCode>"$"#,##0.00;[Red]\-"$"#,##0.00</c:formatCode>
                <c:ptCount val="12"/>
                <c:pt idx="0">
                  <c:v>1625596.3356633</c:v>
                </c:pt>
                <c:pt idx="1">
                  <c:v>1295067.8472731998</c:v>
                </c:pt>
                <c:pt idx="2">
                  <c:v>1750624.8818057997</c:v>
                </c:pt>
                <c:pt idx="3">
                  <c:v>1472529.3869285996</c:v>
                </c:pt>
                <c:pt idx="4">
                  <c:v>1252200.4923928501</c:v>
                </c:pt>
                <c:pt idx="5">
                  <c:v>1406782.6738875001</c:v>
                </c:pt>
                <c:pt idx="6">
                  <c:v>1877449.5046125001</c:v>
                </c:pt>
                <c:pt idx="7">
                  <c:v>1912219.1750437501</c:v>
                </c:pt>
                <c:pt idx="8">
                  <c:v>2266625.1980531253</c:v>
                </c:pt>
                <c:pt idx="9">
                  <c:v>2234200.5744250002</c:v>
                </c:pt>
                <c:pt idx="10">
                  <c:v>2593715.6428375002</c:v>
                </c:pt>
                <c:pt idx="11">
                  <c:v>2274807.7859325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FBE-4792-AF54-54E95CC9210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859152431"/>
        <c:axId val="1859149519"/>
      </c:barChart>
      <c:lineChart>
        <c:grouping val="standard"/>
        <c:varyColors val="0"/>
        <c:ser>
          <c:idx val="1"/>
          <c:order val="1"/>
          <c:tx>
            <c:strRef>
              <c:f>'Expenses Analysis'!$E$110</c:f>
              <c:strCache>
                <c:ptCount val="1"/>
                <c:pt idx="0">
                  <c:v>None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'Expenses Analysis'!$F$103:$Q$103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xpenses Analysis'!$F$110:$Q$110</c:f>
              <c:numCache>
                <c:formatCode>0.00_);[Red]\(0.00\)</c:formatCode>
                <c:ptCount val="12"/>
                <c:pt idx="0">
                  <c:v>250.24199099999998</c:v>
                </c:pt>
                <c:pt idx="1">
                  <c:v>206.740703</c:v>
                </c:pt>
                <c:pt idx="2">
                  <c:v>201.23546099999996</c:v>
                </c:pt>
                <c:pt idx="3">
                  <c:v>174.36956599999999</c:v>
                </c:pt>
                <c:pt idx="4">
                  <c:v>204.09105</c:v>
                </c:pt>
                <c:pt idx="5">
                  <c:v>146.35666599999999</c:v>
                </c:pt>
                <c:pt idx="6">
                  <c:v>204.20249700000002</c:v>
                </c:pt>
                <c:pt idx="7">
                  <c:v>217.43019900000002</c:v>
                </c:pt>
                <c:pt idx="8">
                  <c:v>230.98220000000001</c:v>
                </c:pt>
                <c:pt idx="9">
                  <c:v>236.441136</c:v>
                </c:pt>
                <c:pt idx="10">
                  <c:v>241.40736899999999</c:v>
                </c:pt>
                <c:pt idx="11">
                  <c:v>220.3803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FBE-4792-AF54-54E95CC9210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859151599"/>
        <c:axId val="1859150351"/>
      </c:lineChart>
      <c:dateAx>
        <c:axId val="1859152431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ko-KR"/>
          </a:p>
        </c:txPr>
        <c:crossAx val="1859149519"/>
        <c:crosses val="autoZero"/>
        <c:auto val="1"/>
        <c:lblOffset val="100"/>
        <c:baseTimeUnit val="months"/>
      </c:dateAx>
      <c:valAx>
        <c:axId val="185914951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.00;[Red]\-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ko-KR"/>
          </a:p>
        </c:txPr>
        <c:crossAx val="1859152431"/>
        <c:crosses val="autoZero"/>
        <c:crossBetween val="between"/>
      </c:valAx>
      <c:valAx>
        <c:axId val="1859150351"/>
        <c:scaling>
          <c:orientation val="minMax"/>
        </c:scaling>
        <c:delete val="0"/>
        <c:axPos val="r"/>
        <c:numFmt formatCode="0.00_);[Red]\(0.00\)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ko-KR"/>
          </a:p>
        </c:txPr>
        <c:crossAx val="1859151599"/>
        <c:crosses val="max"/>
        <c:crossBetween val="between"/>
      </c:valAx>
      <c:dateAx>
        <c:axId val="1859151599"/>
        <c:scaling>
          <c:orientation val="minMax"/>
        </c:scaling>
        <c:delete val="1"/>
        <c:axPos val="b"/>
        <c:numFmt formatCode="mmm\-yy" sourceLinked="1"/>
        <c:majorTickMark val="out"/>
        <c:minorTickMark val="none"/>
        <c:tickLblPos val="nextTo"/>
        <c:crossAx val="1859150351"/>
        <c:crosses val="autoZero"/>
        <c:auto val="1"/>
        <c:lblOffset val="100"/>
        <c:baseTimeUnit val="months"/>
      </c:date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ko-K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ko-KR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ko-KR"/>
              <a:t>EBIT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ko-KR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EBIT Analysis'!$A$23</c:f>
              <c:strCache>
                <c:ptCount val="1"/>
                <c:pt idx="0">
                  <c:v>Kootha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'EBIT Analysis'!$E$13:$P$13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BIT Analysis'!$E$23:$P$23</c:f>
              <c:numCache>
                <c:formatCode>"$"#,##0.00;[Red]\-"$"#,##0.00</c:formatCode>
                <c:ptCount val="12"/>
                <c:pt idx="0">
                  <c:v>2456292.3275362095</c:v>
                </c:pt>
                <c:pt idx="1">
                  <c:v>918310.88787430618</c:v>
                </c:pt>
                <c:pt idx="2">
                  <c:v>1519674.7670411356</c:v>
                </c:pt>
                <c:pt idx="3">
                  <c:v>1671126.6978958244</c:v>
                </c:pt>
                <c:pt idx="4">
                  <c:v>1867603.7439484252</c:v>
                </c:pt>
                <c:pt idx="5">
                  <c:v>1873668.8420387572</c:v>
                </c:pt>
                <c:pt idx="6">
                  <c:v>2572779.3705296321</c:v>
                </c:pt>
                <c:pt idx="7">
                  <c:v>2504531.9499788238</c:v>
                </c:pt>
                <c:pt idx="8">
                  <c:v>2888063.9198026378</c:v>
                </c:pt>
                <c:pt idx="9">
                  <c:v>912936.10019635595</c:v>
                </c:pt>
                <c:pt idx="10">
                  <c:v>702117.95209483802</c:v>
                </c:pt>
                <c:pt idx="11">
                  <c:v>-165973.3531114617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84D-4C6E-8538-18A75CBD4F41}"/>
            </c:ext>
          </c:extLst>
        </c:ser>
        <c:ser>
          <c:idx val="1"/>
          <c:order val="1"/>
          <c:tx>
            <c:strRef>
              <c:f>'EBIT Analysis'!$A$24</c:f>
              <c:strCache>
                <c:ptCount val="1"/>
                <c:pt idx="0">
                  <c:v>Surjek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'EBIT Analysis'!$E$13:$P$13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BIT Analysis'!$E$24:$P$24</c:f>
              <c:numCache>
                <c:formatCode>"$"#,##0.00;[Red]\-"$"#,##0.00</c:formatCode>
                <c:ptCount val="12"/>
                <c:pt idx="0">
                  <c:v>5988499.8026137892</c:v>
                </c:pt>
                <c:pt idx="1">
                  <c:v>943434.10160639696</c:v>
                </c:pt>
                <c:pt idx="2">
                  <c:v>2328952.4387191646</c:v>
                </c:pt>
                <c:pt idx="3">
                  <c:v>-3360291.110331079</c:v>
                </c:pt>
                <c:pt idx="4">
                  <c:v>-6192464.2872408964</c:v>
                </c:pt>
                <c:pt idx="5">
                  <c:v>2604016.9804607946</c:v>
                </c:pt>
                <c:pt idx="6">
                  <c:v>8366591.2969236001</c:v>
                </c:pt>
                <c:pt idx="7">
                  <c:v>2112457.573284395</c:v>
                </c:pt>
                <c:pt idx="8">
                  <c:v>4631100.2007863969</c:v>
                </c:pt>
                <c:pt idx="9">
                  <c:v>2132931.991960397</c:v>
                </c:pt>
                <c:pt idx="10">
                  <c:v>-4294074.8102160059</c:v>
                </c:pt>
                <c:pt idx="11">
                  <c:v>7675095.95046719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84D-4C6E-8538-18A75CBD4F41}"/>
            </c:ext>
          </c:extLst>
        </c:ser>
        <c:ser>
          <c:idx val="2"/>
          <c:order val="2"/>
          <c:tx>
            <c:strRef>
              <c:f>'EBIT Analysis'!$A$25</c:f>
              <c:strCache>
                <c:ptCount val="1"/>
                <c:pt idx="0">
                  <c:v>Jutik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'EBIT Analysis'!$E$13:$P$13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BIT Analysis'!$E$25:$P$25</c:f>
              <c:numCache>
                <c:formatCode>"$"#,##0.00;[Red]\-"$"#,##0.00</c:formatCode>
                <c:ptCount val="12"/>
                <c:pt idx="0">
                  <c:v>4547848.2127075791</c:v>
                </c:pt>
                <c:pt idx="1">
                  <c:v>6542227.6080423184</c:v>
                </c:pt>
                <c:pt idx="2">
                  <c:v>4438176.8988530822</c:v>
                </c:pt>
                <c:pt idx="3">
                  <c:v>4415960.6020003622</c:v>
                </c:pt>
                <c:pt idx="4">
                  <c:v>5589126.5717249103</c:v>
                </c:pt>
                <c:pt idx="5">
                  <c:v>5264580.3424524991</c:v>
                </c:pt>
                <c:pt idx="6">
                  <c:v>8292411.5891714972</c:v>
                </c:pt>
                <c:pt idx="7">
                  <c:v>8295134.2778322492</c:v>
                </c:pt>
                <c:pt idx="8">
                  <c:v>5460903.0204648729</c:v>
                </c:pt>
                <c:pt idx="9">
                  <c:v>8279084.1609189995</c:v>
                </c:pt>
                <c:pt idx="10">
                  <c:v>6175874.2250345014</c:v>
                </c:pt>
                <c:pt idx="11">
                  <c:v>5640408.587991498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84D-4C6E-8538-18A75CBD4F4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426783680"/>
        <c:axId val="1426794912"/>
      </c:lineChart>
      <c:dateAx>
        <c:axId val="1426783680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ko-KR"/>
          </a:p>
        </c:txPr>
        <c:crossAx val="1426794912"/>
        <c:crosses val="autoZero"/>
        <c:auto val="1"/>
        <c:lblOffset val="100"/>
        <c:baseTimeUnit val="months"/>
      </c:dateAx>
      <c:valAx>
        <c:axId val="142679491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.00;[Red]\-&quot;$&quot;#,##0.0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ko-KR"/>
          </a:p>
        </c:txPr>
        <c:crossAx val="142678368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ko-K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ko-KR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ko-KR"/>
              <a:t>EBIT margin</a:t>
            </a:r>
          </a:p>
        </c:rich>
      </c:tx>
      <c:layout>
        <c:manualLayout>
          <c:xMode val="edge"/>
          <c:yMode val="edge"/>
          <c:x val="0.39533857717945081"/>
          <c:y val="2.792369721477610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ko-KR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EBIT Analysis'!$A$49</c:f>
              <c:strCache>
                <c:ptCount val="1"/>
                <c:pt idx="0">
                  <c:v>Kootha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'EBIT Analysis'!$E$47:$P$47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BIT Analysis'!$E$49:$P$49</c:f>
              <c:numCache>
                <c:formatCode>0.00%</c:formatCode>
                <c:ptCount val="12"/>
                <c:pt idx="0">
                  <c:v>0.41529437933894875</c:v>
                </c:pt>
                <c:pt idx="1">
                  <c:v>0.16120151183040166</c:v>
                </c:pt>
                <c:pt idx="2">
                  <c:v>0.28887410723655493</c:v>
                </c:pt>
                <c:pt idx="3">
                  <c:v>0.32001932998338012</c:v>
                </c:pt>
                <c:pt idx="4">
                  <c:v>0.33869312626258291</c:v>
                </c:pt>
                <c:pt idx="5">
                  <c:v>0.34820783846476255</c:v>
                </c:pt>
                <c:pt idx="6">
                  <c:v>0.32889058147025918</c:v>
                </c:pt>
                <c:pt idx="7">
                  <c:v>0.36170053874987812</c:v>
                </c:pt>
                <c:pt idx="8">
                  <c:v>0.3957450352355435</c:v>
                </c:pt>
                <c:pt idx="9">
                  <c:v>0.17121060352256295</c:v>
                </c:pt>
                <c:pt idx="10">
                  <c:v>0.13014434409940612</c:v>
                </c:pt>
                <c:pt idx="11">
                  <c:v>-3.2015452692863752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B197-4BF0-8C4D-29D1A81575CB}"/>
            </c:ext>
          </c:extLst>
        </c:ser>
        <c:ser>
          <c:idx val="1"/>
          <c:order val="1"/>
          <c:tx>
            <c:strRef>
              <c:f>'EBIT Analysis'!$A$50</c:f>
              <c:strCache>
                <c:ptCount val="1"/>
                <c:pt idx="0">
                  <c:v>Surjek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'EBIT Analysis'!$E$47:$P$47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BIT Analysis'!$E$50:$P$50</c:f>
              <c:numCache>
                <c:formatCode>0.00%</c:formatCode>
                <c:ptCount val="12"/>
                <c:pt idx="0">
                  <c:v>0.3455956940538133</c:v>
                </c:pt>
                <c:pt idx="1">
                  <c:v>6.4599684274176436E-2</c:v>
                </c:pt>
                <c:pt idx="2">
                  <c:v>0.14433359289184161</c:v>
                </c:pt>
                <c:pt idx="3">
                  <c:v>-0.22177748431522884</c:v>
                </c:pt>
                <c:pt idx="4">
                  <c:v>-0.44766201795834271</c:v>
                </c:pt>
                <c:pt idx="5">
                  <c:v>0.16732145063494736</c:v>
                </c:pt>
                <c:pt idx="6">
                  <c:v>0.37427618015254988</c:v>
                </c:pt>
                <c:pt idx="7">
                  <c:v>0.11368942332287189</c:v>
                </c:pt>
                <c:pt idx="8">
                  <c:v>0.23574321478746135</c:v>
                </c:pt>
                <c:pt idx="9">
                  <c:v>0.11675504697526991</c:v>
                </c:pt>
                <c:pt idx="10">
                  <c:v>-0.29356581548975247</c:v>
                </c:pt>
                <c:pt idx="11">
                  <c:v>0.474821611306421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197-4BF0-8C4D-29D1A81575CB}"/>
            </c:ext>
          </c:extLst>
        </c:ser>
        <c:ser>
          <c:idx val="2"/>
          <c:order val="2"/>
          <c:tx>
            <c:strRef>
              <c:f>'EBIT Analysis'!$A$51</c:f>
              <c:strCache>
                <c:ptCount val="1"/>
                <c:pt idx="0">
                  <c:v>Jutik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'EBIT Analysis'!$E$47:$P$47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BIT Analysis'!$E$51:$P$51</c:f>
              <c:numCache>
                <c:formatCode>0.00%</c:formatCode>
                <c:ptCount val="12"/>
                <c:pt idx="0">
                  <c:v>0.35762388953297342</c:v>
                </c:pt>
                <c:pt idx="1">
                  <c:v>0.5013107546263732</c:v>
                </c:pt>
                <c:pt idx="2">
                  <c:v>0.33532439120342417</c:v>
                </c:pt>
                <c:pt idx="3">
                  <c:v>0.37373471996246976</c:v>
                </c:pt>
                <c:pt idx="4">
                  <c:v>0.47039691903281722</c:v>
                </c:pt>
                <c:pt idx="5">
                  <c:v>0.47313004208100951</c:v>
                </c:pt>
                <c:pt idx="6">
                  <c:v>0.5353020289864372</c:v>
                </c:pt>
                <c:pt idx="7">
                  <c:v>0.52577909011510338</c:v>
                </c:pt>
                <c:pt idx="8">
                  <c:v>0.38588068285200638</c:v>
                </c:pt>
                <c:pt idx="9">
                  <c:v>0.55152119278952894</c:v>
                </c:pt>
                <c:pt idx="10">
                  <c:v>0.43228332459198315</c:v>
                </c:pt>
                <c:pt idx="11">
                  <c:v>0.373034955444315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197-4BF0-8C4D-29D1A81575C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289983616"/>
        <c:axId val="1289991936"/>
      </c:lineChart>
      <c:dateAx>
        <c:axId val="1289983616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ko-KR"/>
          </a:p>
        </c:txPr>
        <c:crossAx val="1289991936"/>
        <c:crosses val="autoZero"/>
        <c:auto val="1"/>
        <c:lblOffset val="100"/>
        <c:baseTimeUnit val="months"/>
      </c:dateAx>
      <c:valAx>
        <c:axId val="128999193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ko-KR"/>
          </a:p>
        </c:txPr>
        <c:crossAx val="128998361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ko-K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ko-KR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Revenu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cap="all" spc="120" normalizeH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ko-KR"/>
        </a:p>
      </c:txPr>
    </c:title>
    <c:autoTitleDeleted val="0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'Revenue Analysis'!$B$55</c:f>
              <c:strCache>
                <c:ptCount val="1"/>
                <c:pt idx="0">
                  <c:v>001 Private Water Hedge Sale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ko-K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Revenue Analysis'!$A$56:$A$58</c:f>
              <c:strCache>
                <c:ptCount val="3"/>
                <c:pt idx="0">
                  <c:v>Kootha</c:v>
                </c:pt>
                <c:pt idx="1">
                  <c:v>Surjek</c:v>
                </c:pt>
                <c:pt idx="2">
                  <c:v>Jutik</c:v>
                </c:pt>
              </c:strCache>
            </c:strRef>
          </c:cat>
          <c:val>
            <c:numRef>
              <c:f>'Revenue Analysis'!$B$56:$B$58</c:f>
              <c:numCache>
                <c:formatCode>"$"#,##0.00;[Red]\-"$"#,##0.00</c:formatCode>
                <c:ptCount val="3"/>
                <c:pt idx="0">
                  <c:v>37118738.908649988</c:v>
                </c:pt>
                <c:pt idx="1">
                  <c:v>82448062.153750017</c:v>
                </c:pt>
                <c:pt idx="2">
                  <c:v>67860510.57375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48-4F68-8B08-9566A27C9370}"/>
            </c:ext>
          </c:extLst>
        </c:ser>
        <c:ser>
          <c:idx val="1"/>
          <c:order val="1"/>
          <c:tx>
            <c:strRef>
              <c:f>'Revenue Analysis'!$C$55</c:f>
              <c:strCache>
                <c:ptCount val="1"/>
                <c:pt idx="0">
                  <c:v>002 Public Sale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ko-K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Revenue Analysis'!$A$56:$A$58</c:f>
              <c:strCache>
                <c:ptCount val="3"/>
                <c:pt idx="0">
                  <c:v>Kootha</c:v>
                </c:pt>
                <c:pt idx="1">
                  <c:v>Surjek</c:v>
                </c:pt>
                <c:pt idx="2">
                  <c:v>Jutik</c:v>
                </c:pt>
              </c:strCache>
            </c:strRef>
          </c:cat>
          <c:val>
            <c:numRef>
              <c:f>'Revenue Analysis'!$C$56:$C$58</c:f>
              <c:numCache>
                <c:formatCode>"$"#,##0.00;[Red]\-"$"#,##0.00</c:formatCode>
                <c:ptCount val="3"/>
                <c:pt idx="0">
                  <c:v>18271699.227782957</c:v>
                </c:pt>
                <c:pt idx="1">
                  <c:v>70562398.047100008</c:v>
                </c:pt>
                <c:pt idx="2">
                  <c:v>58098022.0742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048-4F68-8B08-9566A27C9370}"/>
            </c:ext>
          </c:extLst>
        </c:ser>
        <c:ser>
          <c:idx val="2"/>
          <c:order val="2"/>
          <c:tx>
            <c:strRef>
              <c:f>'Revenue Analysis'!$D$55</c:f>
              <c:strCache>
                <c:ptCount val="1"/>
                <c:pt idx="0">
                  <c:v>003 Residential Sales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ko-K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Revenue Analysis'!$A$56:$A$58</c:f>
              <c:strCache>
                <c:ptCount val="3"/>
                <c:pt idx="0">
                  <c:v>Kootha</c:v>
                </c:pt>
                <c:pt idx="1">
                  <c:v>Surjek</c:v>
                </c:pt>
                <c:pt idx="2">
                  <c:v>Jutik</c:v>
                </c:pt>
              </c:strCache>
            </c:strRef>
          </c:cat>
          <c:val>
            <c:numRef>
              <c:f>'Revenue Analysis'!$D$56:$D$58</c:f>
              <c:numCache>
                <c:formatCode>"$"#,##0.00;[Red]\-"$"#,##0.00</c:formatCode>
                <c:ptCount val="3"/>
                <c:pt idx="0">
                  <c:v>15554519.161720002</c:v>
                </c:pt>
                <c:pt idx="1">
                  <c:v>49244888.96814999</c:v>
                </c:pt>
                <c:pt idx="2">
                  <c:v>37706692.7289499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048-4F68-8B08-9566A27C9370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79"/>
        <c:overlap val="100"/>
        <c:axId val="1209352031"/>
        <c:axId val="1209368671"/>
      </c:barChart>
      <c:catAx>
        <c:axId val="120935203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ko-KR"/>
          </a:p>
        </c:txPr>
        <c:crossAx val="1209368671"/>
        <c:crosses val="autoZero"/>
        <c:auto val="1"/>
        <c:lblAlgn val="ctr"/>
        <c:lblOffset val="100"/>
        <c:noMultiLvlLbl val="0"/>
      </c:catAx>
      <c:valAx>
        <c:axId val="1209368671"/>
        <c:scaling>
          <c:orientation val="minMax"/>
        </c:scaling>
        <c:delete val="1"/>
        <c:axPos val="b"/>
        <c:numFmt formatCode="&quot;$&quot;#,##0.00;[Red]\-&quot;$&quot;#,##0.00" sourceLinked="1"/>
        <c:majorTickMark val="none"/>
        <c:minorTickMark val="none"/>
        <c:tickLblPos val="nextTo"/>
        <c:crossAx val="1209352031"/>
        <c:crosses val="autoZero"/>
        <c:crossBetween val="between"/>
        <c:dispUnits>
          <c:builtInUnit val="millions"/>
          <c:dispUnits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ko-KR"/>
              </a:p>
            </c:txPr>
          </c:dispUnitsLbl>
        </c:dispUnits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ko-K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ko-KR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Kootha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ko-KR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Revenue Analysis'!$C$33</c:f>
              <c:strCache>
                <c:ptCount val="1"/>
                <c:pt idx="0">
                  <c:v>001 Private Water Hedge Sales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'Revenue Analysis'!$D$32:$O$3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Revenue Analysis'!$D$33:$O$33</c:f>
              <c:numCache>
                <c:formatCode>"$"#,##0.00;[Red]\-"$"#,##0.00</c:formatCode>
                <c:ptCount val="12"/>
                <c:pt idx="0">
                  <c:v>3094536.9986999994</c:v>
                </c:pt>
                <c:pt idx="1">
                  <c:v>2980521.8105250001</c:v>
                </c:pt>
                <c:pt idx="2">
                  <c:v>2752413.7409999999</c:v>
                </c:pt>
                <c:pt idx="3">
                  <c:v>2732151.9371999996</c:v>
                </c:pt>
                <c:pt idx="4">
                  <c:v>2885028.0122999996</c:v>
                </c:pt>
                <c:pt idx="5">
                  <c:v>2815308.3782250006</c:v>
                </c:pt>
                <c:pt idx="6">
                  <c:v>4092821.3597249994</c:v>
                </c:pt>
                <c:pt idx="7">
                  <c:v>3622839.5636999998</c:v>
                </c:pt>
                <c:pt idx="8">
                  <c:v>3818238.1009499999</c:v>
                </c:pt>
                <c:pt idx="9">
                  <c:v>2789853.534825</c:v>
                </c:pt>
                <c:pt idx="10">
                  <c:v>2822646.2911499999</c:v>
                </c:pt>
                <c:pt idx="11">
                  <c:v>2712379.180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85F-4DF3-9B63-EC0DC31D80FD}"/>
            </c:ext>
          </c:extLst>
        </c:ser>
        <c:ser>
          <c:idx val="1"/>
          <c:order val="1"/>
          <c:tx>
            <c:strRef>
              <c:f>'Revenue Analysis'!$C$34</c:f>
              <c:strCache>
                <c:ptCount val="1"/>
                <c:pt idx="0">
                  <c:v>002 Public Sales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'Revenue Analysis'!$D$32:$O$3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Revenue Analysis'!$D$34:$O$34</c:f>
              <c:numCache>
                <c:formatCode>"$"#,##0.00;[Red]\-"$"#,##0.00</c:formatCode>
                <c:ptCount val="12"/>
                <c:pt idx="0">
                  <c:v>1523285.8376100748</c:v>
                </c:pt>
                <c:pt idx="1">
                  <c:v>1467161.8612309312</c:v>
                </c:pt>
                <c:pt idx="2">
                  <c:v>1354875.66400725</c:v>
                </c:pt>
                <c:pt idx="3">
                  <c:v>1344901.7910867</c:v>
                </c:pt>
                <c:pt idx="4">
                  <c:v>1420155.039054675</c:v>
                </c:pt>
                <c:pt idx="5">
                  <c:v>1385835.5491812564</c:v>
                </c:pt>
                <c:pt idx="6">
                  <c:v>2014691.3143246307</c:v>
                </c:pt>
                <c:pt idx="7">
                  <c:v>1783342.7752313251</c:v>
                </c:pt>
                <c:pt idx="8">
                  <c:v>1879527.7051926372</c:v>
                </c:pt>
                <c:pt idx="9">
                  <c:v>1373305.4025176065</c:v>
                </c:pt>
                <c:pt idx="10">
                  <c:v>1389447.6368185873</c:v>
                </c:pt>
                <c:pt idx="11">
                  <c:v>1335168.651527287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85F-4DF3-9B63-EC0DC31D80FD}"/>
            </c:ext>
          </c:extLst>
        </c:ser>
        <c:ser>
          <c:idx val="2"/>
          <c:order val="2"/>
          <c:tx>
            <c:strRef>
              <c:f>'Revenue Analysis'!$C$35</c:f>
              <c:strCache>
                <c:ptCount val="1"/>
                <c:pt idx="0">
                  <c:v>003 Residential Sales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'Revenue Analysis'!$D$32:$O$3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Revenue Analysis'!$D$35:$O$35</c:f>
              <c:numCache>
                <c:formatCode>"$"#,##0.00;[Red]\-"$"#,##0.00</c:formatCode>
                <c:ptCount val="12"/>
                <c:pt idx="0">
                  <c:v>1296758.36136</c:v>
                </c:pt>
                <c:pt idx="1">
                  <c:v>1248980.56822</c:v>
                </c:pt>
                <c:pt idx="2">
                  <c:v>1153392.4247999999</c:v>
                </c:pt>
                <c:pt idx="3">
                  <c:v>1144901.76416</c:v>
                </c:pt>
                <c:pt idx="4">
                  <c:v>1208964.11944</c:v>
                </c:pt>
                <c:pt idx="5">
                  <c:v>1179748.2727800002</c:v>
                </c:pt>
                <c:pt idx="6">
                  <c:v>1715087.0459799999</c:v>
                </c:pt>
                <c:pt idx="7">
                  <c:v>1518142.2933600002</c:v>
                </c:pt>
                <c:pt idx="8">
                  <c:v>1600023.58516</c:v>
                </c:pt>
                <c:pt idx="9">
                  <c:v>1169081.4812600003</c:v>
                </c:pt>
                <c:pt idx="10">
                  <c:v>1182823.2077200001</c:v>
                </c:pt>
                <c:pt idx="11">
                  <c:v>1136616.03748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85F-4DF3-9B63-EC0DC31D80F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935257047"/>
        <c:axId val="1141970439"/>
      </c:lineChart>
      <c:dateAx>
        <c:axId val="935257047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ko-KR"/>
          </a:p>
        </c:txPr>
        <c:crossAx val="1141970439"/>
        <c:crosses val="autoZero"/>
        <c:auto val="1"/>
        <c:lblOffset val="100"/>
        <c:baseTimeUnit val="months"/>
      </c:dateAx>
      <c:valAx>
        <c:axId val="114197043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.00;[Red]\-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ko-KR"/>
          </a:p>
        </c:txPr>
        <c:crossAx val="93525704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ko-K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ko-KR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Surjek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ko-KR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Revenue Analysis'!$C$36</c:f>
              <c:strCache>
                <c:ptCount val="1"/>
                <c:pt idx="0">
                  <c:v>001 Private Water Hedge Sales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'Revenue Analysis'!$D$32:$O$3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Revenue Analysis'!$D$36:$O$36</c:f>
              <c:numCache>
                <c:formatCode>"$"#,##0.00;[Red]\-"$"#,##0.00</c:formatCode>
                <c:ptCount val="12"/>
                <c:pt idx="0">
                  <c:v>7220021.2387499996</c:v>
                </c:pt>
                <c:pt idx="1">
                  <c:v>6085131.0149999997</c:v>
                </c:pt>
                <c:pt idx="2">
                  <c:v>6723291.7162500005</c:v>
                </c:pt>
                <c:pt idx="3">
                  <c:v>6313180.5299999993</c:v>
                </c:pt>
                <c:pt idx="4">
                  <c:v>5763708.6674999995</c:v>
                </c:pt>
                <c:pt idx="5">
                  <c:v>6484566.5099999998</c:v>
                </c:pt>
                <c:pt idx="6">
                  <c:v>9314190.6750000007</c:v>
                </c:pt>
                <c:pt idx="7">
                  <c:v>6750396.1374999993</c:v>
                </c:pt>
                <c:pt idx="8">
                  <c:v>8185283.6587499995</c:v>
                </c:pt>
                <c:pt idx="9">
                  <c:v>6778514.602500001</c:v>
                </c:pt>
                <c:pt idx="10">
                  <c:v>6094707.7050000001</c:v>
                </c:pt>
                <c:pt idx="11">
                  <c:v>6735069.6974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E45-48C2-99A3-6CA1AE962956}"/>
            </c:ext>
          </c:extLst>
        </c:ser>
        <c:ser>
          <c:idx val="1"/>
          <c:order val="1"/>
          <c:tx>
            <c:strRef>
              <c:f>'Revenue Analysis'!$C$37</c:f>
              <c:strCache>
                <c:ptCount val="1"/>
                <c:pt idx="0">
                  <c:v>002 Public Sales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'Revenue Analysis'!$D$32:$O$3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Revenue Analysis'!$D$37:$O$37</c:f>
              <c:numCache>
                <c:formatCode>"$"#,##0.00;[Red]\-"$"#,##0.00</c:formatCode>
                <c:ptCount val="12"/>
                <c:pt idx="0">
                  <c:v>5968550.8906999994</c:v>
                </c:pt>
                <c:pt idx="1">
                  <c:v>5030374.9724000003</c:v>
                </c:pt>
                <c:pt idx="2">
                  <c:v>5557921.1521000005</c:v>
                </c:pt>
                <c:pt idx="3">
                  <c:v>5218895.9047999997</c:v>
                </c:pt>
                <c:pt idx="4">
                  <c:v>4764665.8318000007</c:v>
                </c:pt>
                <c:pt idx="5">
                  <c:v>5360574.9815999996</c:v>
                </c:pt>
                <c:pt idx="6">
                  <c:v>7699730.9580000006</c:v>
                </c:pt>
                <c:pt idx="7">
                  <c:v>6985660.807</c:v>
                </c:pt>
                <c:pt idx="8">
                  <c:v>6766501.1579</c:v>
                </c:pt>
                <c:pt idx="9">
                  <c:v>6603572.0713999998</c:v>
                </c:pt>
                <c:pt idx="10">
                  <c:v>5038291.7028000001</c:v>
                </c:pt>
                <c:pt idx="11">
                  <c:v>5567657.61660000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E45-48C2-99A3-6CA1AE962956}"/>
            </c:ext>
          </c:extLst>
        </c:ser>
        <c:ser>
          <c:idx val="2"/>
          <c:order val="2"/>
          <c:tx>
            <c:strRef>
              <c:f>'Revenue Analysis'!$C$38</c:f>
              <c:strCache>
                <c:ptCount val="1"/>
                <c:pt idx="0">
                  <c:v>003 Residential Sales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'Revenue Analysis'!$D$32:$O$3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Revenue Analysis'!$D$38:$O$38</c:f>
              <c:numCache>
                <c:formatCode>"$"#,##0.00;[Red]\-"$"#,##0.00</c:formatCode>
                <c:ptCount val="12"/>
                <c:pt idx="0">
                  <c:v>4139478.8435499985</c:v>
                </c:pt>
                <c:pt idx="1">
                  <c:v>3488808.4485999988</c:v>
                </c:pt>
                <c:pt idx="2">
                  <c:v>3854687.2506499989</c:v>
                </c:pt>
                <c:pt idx="3">
                  <c:v>3619556.8371999986</c:v>
                </c:pt>
                <c:pt idx="4">
                  <c:v>3304526.302699999</c:v>
                </c:pt>
                <c:pt idx="5">
                  <c:v>3717818.1323999991</c:v>
                </c:pt>
                <c:pt idx="6">
                  <c:v>5340135.9869999988</c:v>
                </c:pt>
                <c:pt idx="7">
                  <c:v>4844893.7854999984</c:v>
                </c:pt>
                <c:pt idx="8">
                  <c:v>4692895.9643499991</c:v>
                </c:pt>
                <c:pt idx="9">
                  <c:v>4886348.3721000003</c:v>
                </c:pt>
                <c:pt idx="10">
                  <c:v>3494299.084199999</c:v>
                </c:pt>
                <c:pt idx="11">
                  <c:v>3861439.959899998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E45-48C2-99A3-6CA1AE96295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580820375"/>
        <c:axId val="1141989879"/>
      </c:lineChart>
      <c:dateAx>
        <c:axId val="1580820375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ko-KR"/>
          </a:p>
        </c:txPr>
        <c:crossAx val="1141989879"/>
        <c:crosses val="autoZero"/>
        <c:auto val="1"/>
        <c:lblOffset val="100"/>
        <c:baseTimeUnit val="months"/>
      </c:dateAx>
      <c:valAx>
        <c:axId val="114198987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.00;[Red]\-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ko-KR"/>
          </a:p>
        </c:txPr>
        <c:crossAx val="158082037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ko-K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ko-KR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Jutik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ko-KR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Revenue Analysis'!$C$39</c:f>
              <c:strCache>
                <c:ptCount val="1"/>
                <c:pt idx="0">
                  <c:v>001 Private Water Hedge Sales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'Revenue Analysis'!$D$32:$O$3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Revenue Analysis'!$D$39:$O$39</c:f>
              <c:numCache>
                <c:formatCode>"$"#,##0.00;[Red]\-"$"#,##0.00</c:formatCode>
                <c:ptCount val="12"/>
                <c:pt idx="0">
                  <c:v>5298686.1637500003</c:v>
                </c:pt>
                <c:pt idx="1">
                  <c:v>5854268.2837499995</c:v>
                </c:pt>
                <c:pt idx="2">
                  <c:v>5098113.7162500005</c:v>
                </c:pt>
                <c:pt idx="3">
                  <c:v>4506567.6112500001</c:v>
                </c:pt>
                <c:pt idx="4">
                  <c:v>4950718.5187500007</c:v>
                </c:pt>
                <c:pt idx="5">
                  <c:v>4219638.2549999999</c:v>
                </c:pt>
                <c:pt idx="6">
                  <c:v>6454620.584999999</c:v>
                </c:pt>
                <c:pt idx="7">
                  <c:v>6573684.678749999</c:v>
                </c:pt>
                <c:pt idx="8">
                  <c:v>5896579.8487499999</c:v>
                </c:pt>
                <c:pt idx="9">
                  <c:v>6254734.0800000001</c:v>
                </c:pt>
                <c:pt idx="10">
                  <c:v>6161098.0612500003</c:v>
                </c:pt>
                <c:pt idx="11">
                  <c:v>6591800.77125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ED1-4AA6-958F-97AE6EEED891}"/>
            </c:ext>
          </c:extLst>
        </c:ser>
        <c:ser>
          <c:idx val="1"/>
          <c:order val="1"/>
          <c:tx>
            <c:strRef>
              <c:f>'Revenue Analysis'!$C$40</c:f>
              <c:strCache>
                <c:ptCount val="1"/>
                <c:pt idx="0">
                  <c:v>002 Public Sales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'Revenue Analysis'!$D$32:$O$3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Revenue Analysis'!$D$40:$O$40</c:f>
              <c:numCache>
                <c:formatCode>"$"#,##0.00;[Red]\-"$"#,##0.00</c:formatCode>
                <c:ptCount val="12"/>
                <c:pt idx="0">
                  <c:v>4380247.2286999999</c:v>
                </c:pt>
                <c:pt idx="1">
                  <c:v>3839528.4479</c:v>
                </c:pt>
                <c:pt idx="2">
                  <c:v>5214440.6721000001</c:v>
                </c:pt>
                <c:pt idx="3">
                  <c:v>4725429.2253</c:v>
                </c:pt>
                <c:pt idx="4">
                  <c:v>4092593.9755000006</c:v>
                </c:pt>
                <c:pt idx="5">
                  <c:v>4488234.2907999996</c:v>
                </c:pt>
                <c:pt idx="6">
                  <c:v>5335819.6836000001</c:v>
                </c:pt>
                <c:pt idx="7">
                  <c:v>5434246.0011</c:v>
                </c:pt>
                <c:pt idx="8">
                  <c:v>4874506.0082999999</c:v>
                </c:pt>
                <c:pt idx="9">
                  <c:v>5170580.1728000008</c:v>
                </c:pt>
                <c:pt idx="10">
                  <c:v>5093174.3973000003</c:v>
                </c:pt>
                <c:pt idx="11">
                  <c:v>5449221.9709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ED1-4AA6-958F-97AE6EEED891}"/>
            </c:ext>
          </c:extLst>
        </c:ser>
        <c:ser>
          <c:idx val="2"/>
          <c:order val="2"/>
          <c:tx>
            <c:strRef>
              <c:f>'Revenue Analysis'!$C$41</c:f>
              <c:strCache>
                <c:ptCount val="1"/>
                <c:pt idx="0">
                  <c:v>003 Residential Sales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'Revenue Analysis'!$D$32:$O$3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Revenue Analysis'!$D$41:$O$41</c:f>
              <c:numCache>
                <c:formatCode>"$"#,##0.00;[Red]\-"$"#,##0.00</c:formatCode>
                <c:ptCount val="12"/>
                <c:pt idx="0">
                  <c:v>3037913.400549999</c:v>
                </c:pt>
                <c:pt idx="1">
                  <c:v>3356447.1493499991</c:v>
                </c:pt>
                <c:pt idx="2">
                  <c:v>2922918.5306499992</c:v>
                </c:pt>
                <c:pt idx="3">
                  <c:v>2583765.4304499994</c:v>
                </c:pt>
                <c:pt idx="4">
                  <c:v>2838411.9507499994</c:v>
                </c:pt>
                <c:pt idx="5">
                  <c:v>2419259.2661999995</c:v>
                </c:pt>
                <c:pt idx="6">
                  <c:v>3700649.1353999986</c:v>
                </c:pt>
                <c:pt idx="7">
                  <c:v>3768912.5491499985</c:v>
                </c:pt>
                <c:pt idx="8">
                  <c:v>3380705.7799499989</c:v>
                </c:pt>
                <c:pt idx="9">
                  <c:v>3586047.5391999991</c:v>
                </c:pt>
                <c:pt idx="10">
                  <c:v>3032362.88845</c:v>
                </c:pt>
                <c:pt idx="11">
                  <c:v>3079299.108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ED1-4AA6-958F-97AE6EEED89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901351752"/>
        <c:axId val="900243608"/>
      </c:lineChart>
      <c:dateAx>
        <c:axId val="901351752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ko-KR"/>
          </a:p>
        </c:txPr>
        <c:crossAx val="900243608"/>
        <c:crosses val="autoZero"/>
        <c:auto val="1"/>
        <c:lblOffset val="100"/>
        <c:baseTimeUnit val="months"/>
      </c:dateAx>
      <c:valAx>
        <c:axId val="9002436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.00;[Red]\-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ko-KR"/>
          </a:p>
        </c:txPr>
        <c:crossAx val="9013517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ko-K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ko-KR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ko-KR"/>
              <a:t>Expense</a:t>
            </a:r>
            <a:r>
              <a:rPr lang="en-US" altLang="ko-KR" baseline="0"/>
              <a:t> per unit</a:t>
            </a:r>
            <a:endParaRPr lang="en-US" altLang="ko-KR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ko-KR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Expenses Analysis'!$C$23</c:f>
              <c:strCache>
                <c:ptCount val="1"/>
                <c:pt idx="0">
                  <c:v>Kootha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'Expenses Analysis'!$F$12:$Q$1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xpenses Analysis'!$F$23:$Q$23</c:f>
              <c:numCache>
                <c:formatCode>"$"#,##0.00;[Red]\-"$"#,##0.00</c:formatCode>
                <c:ptCount val="12"/>
                <c:pt idx="0">
                  <c:v>3458288.8701338647</c:v>
                </c:pt>
                <c:pt idx="1">
                  <c:v>4778353.3521016249</c:v>
                </c:pt>
                <c:pt idx="2">
                  <c:v>3741007.0627661142</c:v>
                </c:pt>
                <c:pt idx="3">
                  <c:v>3550828.7945508747</c:v>
                </c:pt>
                <c:pt idx="4">
                  <c:v>3646543.42684625</c:v>
                </c:pt>
                <c:pt idx="5">
                  <c:v>3507223.3581475001</c:v>
                </c:pt>
                <c:pt idx="6">
                  <c:v>5249820.3494999986</c:v>
                </c:pt>
                <c:pt idx="7">
                  <c:v>4419792.6823125007</c:v>
                </c:pt>
                <c:pt idx="8">
                  <c:v>4409725.4715</c:v>
                </c:pt>
                <c:pt idx="9">
                  <c:v>4419304.3184062503</c:v>
                </c:pt>
                <c:pt idx="10">
                  <c:v>4692799.18359375</c:v>
                </c:pt>
                <c:pt idx="11">
                  <c:v>5350137.22246874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3E8-4120-8A1B-AFE58C5AA47E}"/>
            </c:ext>
          </c:extLst>
        </c:ser>
        <c:ser>
          <c:idx val="1"/>
          <c:order val="1"/>
          <c:tx>
            <c:strRef>
              <c:f>'Expenses Analysis'!$C$33</c:f>
              <c:strCache>
                <c:ptCount val="1"/>
                <c:pt idx="0">
                  <c:v>Surjek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'Expenses Analysis'!$F$12:$Q$1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xpenses Analysis'!$F$33:$Q$33</c:f>
              <c:numCache>
                <c:formatCode>"$"#,##0.00;[Red]\-"$"#,##0.00</c:formatCode>
                <c:ptCount val="12"/>
                <c:pt idx="0">
                  <c:v>11339551.170386208</c:v>
                </c:pt>
                <c:pt idx="1">
                  <c:v>13660880.3343936</c:v>
                </c:pt>
                <c:pt idx="2">
                  <c:v>13806947.680280834</c:v>
                </c:pt>
                <c:pt idx="3">
                  <c:v>18511924.382331077</c:v>
                </c:pt>
                <c:pt idx="4">
                  <c:v>20025365.089240894</c:v>
                </c:pt>
                <c:pt idx="5">
                  <c:v>12958942.643539203</c:v>
                </c:pt>
                <c:pt idx="6">
                  <c:v>13987466.323076401</c:v>
                </c:pt>
                <c:pt idx="7">
                  <c:v>16468493.156715602</c:v>
                </c:pt>
                <c:pt idx="8">
                  <c:v>15013580.580213603</c:v>
                </c:pt>
                <c:pt idx="9">
                  <c:v>16135503.054039603</c:v>
                </c:pt>
                <c:pt idx="10">
                  <c:v>18921373.302216005</c:v>
                </c:pt>
                <c:pt idx="11">
                  <c:v>8489071.32353279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3E8-4120-8A1B-AFE58C5AA47E}"/>
            </c:ext>
          </c:extLst>
        </c:ser>
        <c:ser>
          <c:idx val="2"/>
          <c:order val="2"/>
          <c:tx>
            <c:strRef>
              <c:f>'Expenses Analysis'!$C$43</c:f>
              <c:strCache>
                <c:ptCount val="1"/>
                <c:pt idx="0">
                  <c:v>Jutik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'Expenses Analysis'!$F$12:$Q$1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xpenses Analysis'!$F$43:$Q$43</c:f>
              <c:numCache>
                <c:formatCode>"$"#,##0.00;[Red]\-"$"#,##0.00</c:formatCode>
                <c:ptCount val="12"/>
                <c:pt idx="0">
                  <c:v>8168998.5802924205</c:v>
                </c:pt>
                <c:pt idx="1">
                  <c:v>6508016.2729576789</c:v>
                </c:pt>
                <c:pt idx="2">
                  <c:v>8797296.0201469176</c:v>
                </c:pt>
                <c:pt idx="3">
                  <c:v>7399801.6649996387</c:v>
                </c:pt>
                <c:pt idx="4">
                  <c:v>6292597.87327509</c:v>
                </c:pt>
                <c:pt idx="5">
                  <c:v>5862551.4695474999</c:v>
                </c:pt>
                <c:pt idx="6">
                  <c:v>7198677.8148285002</c:v>
                </c:pt>
                <c:pt idx="7">
                  <c:v>7481708.9511677492</c:v>
                </c:pt>
                <c:pt idx="8">
                  <c:v>8690888.6165351253</c:v>
                </c:pt>
                <c:pt idx="9">
                  <c:v>6732277.631081</c:v>
                </c:pt>
                <c:pt idx="10">
                  <c:v>8110761.1219654996</c:v>
                </c:pt>
                <c:pt idx="11">
                  <c:v>9479913.263008501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3E8-4120-8A1B-AFE58C5AA47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080802271"/>
        <c:axId val="2080810591"/>
      </c:lineChart>
      <c:dateAx>
        <c:axId val="2080802271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ko-KR"/>
          </a:p>
        </c:txPr>
        <c:crossAx val="2080810591"/>
        <c:crosses val="autoZero"/>
        <c:auto val="1"/>
        <c:lblOffset val="100"/>
        <c:baseTimeUnit val="months"/>
      </c:dateAx>
      <c:valAx>
        <c:axId val="208081059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.00;[Red]\-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ko-KR"/>
          </a:p>
        </c:txPr>
        <c:crossAx val="208080227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ko-K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ko-KR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ko-KR"/>
              <a:t>Expense</a:t>
            </a:r>
            <a:r>
              <a:rPr lang="en-US" altLang="ko-KR" baseline="0"/>
              <a:t> per cost centre element</a:t>
            </a:r>
          </a:p>
        </c:rich>
      </c:tx>
      <c:layout>
        <c:manualLayout>
          <c:xMode val="edge"/>
          <c:yMode val="edge"/>
          <c:x val="0.37044166733571415"/>
          <c:y val="2.431611718198539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ko-KR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Expenses Analysis'!$D$49</c:f>
              <c:strCache>
                <c:ptCount val="1"/>
                <c:pt idx="0">
                  <c:v>Chem-Exp (001)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'Expenses Analysis'!$E$47:$P$47</c:f>
              <c:numCache>
                <c:formatCode>m/d/yy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xpenses Analysis'!$E$49:$P$49</c:f>
              <c:numCache>
                <c:formatCode>"$"#,##0.00;[Red]\-"$"#,##0.00</c:formatCode>
                <c:ptCount val="12"/>
                <c:pt idx="0">
                  <c:v>4752382.6895514736</c:v>
                </c:pt>
                <c:pt idx="1">
                  <c:v>5167035.0438473243</c:v>
                </c:pt>
                <c:pt idx="2">
                  <c:v>5477119.2220016234</c:v>
                </c:pt>
                <c:pt idx="3">
                  <c:v>6217372.1257881755</c:v>
                </c:pt>
                <c:pt idx="4">
                  <c:v>6351549.5562056992</c:v>
                </c:pt>
                <c:pt idx="5">
                  <c:v>5473893.9778650012</c:v>
                </c:pt>
                <c:pt idx="6">
                  <c:v>7073236.3159125</c:v>
                </c:pt>
                <c:pt idx="7">
                  <c:v>7645099.2339562494</c:v>
                </c:pt>
                <c:pt idx="8">
                  <c:v>7576081.9643531246</c:v>
                </c:pt>
                <c:pt idx="9">
                  <c:v>7870566.9194312505</c:v>
                </c:pt>
                <c:pt idx="10">
                  <c:v>9096355.030431252</c:v>
                </c:pt>
                <c:pt idx="11">
                  <c:v>5712658.1783212498</c:v>
                </c:pt>
              </c:numCache>
            </c:numRef>
          </c: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00-9C90-4F57-B081-F448435BFCC6}"/>
            </c:ext>
          </c:extLst>
        </c:ser>
        <c:ser>
          <c:idx val="1"/>
          <c:order val="1"/>
          <c:tx>
            <c:strRef>
              <c:f>'Expenses Analysis'!$D$50</c:f>
              <c:strCache>
                <c:ptCount val="1"/>
                <c:pt idx="0">
                  <c:v>Utility-Exp (002) - Heating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'Expenses Analysis'!$E$47:$P$47</c:f>
              <c:numCache>
                <c:formatCode>m/d/yy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xpenses Analysis'!$E$50:$P$50</c:f>
              <c:numCache>
                <c:formatCode>"$"#,##0.00;[Red]\-"$"#,##0.00</c:formatCode>
                <c:ptCount val="12"/>
                <c:pt idx="0">
                  <c:v>2439061.3979192991</c:v>
                </c:pt>
                <c:pt idx="1">
                  <c:v>2621863.5100085996</c:v>
                </c:pt>
                <c:pt idx="2">
                  <c:v>2806168.0509719998</c:v>
                </c:pt>
                <c:pt idx="3">
                  <c:v>3163209.5663784007</c:v>
                </c:pt>
                <c:pt idx="4">
                  <c:v>3218501.5770913498</c:v>
                </c:pt>
                <c:pt idx="5">
                  <c:v>2788369.1117025004</c:v>
                </c:pt>
                <c:pt idx="6">
                  <c:v>3593667.2656375002</c:v>
                </c:pt>
                <c:pt idx="7">
                  <c:v>3722191.4510812499</c:v>
                </c:pt>
                <c:pt idx="8">
                  <c:v>3871145.1659843749</c:v>
                </c:pt>
                <c:pt idx="9">
                  <c:v>3465642.2342250003</c:v>
                </c:pt>
                <c:pt idx="10">
                  <c:v>4094860.7397625004</c:v>
                </c:pt>
                <c:pt idx="11">
                  <c:v>2932911.32680750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9C90-4F57-B081-F448435BFCC6}"/>
            </c:ext>
          </c:extLst>
        </c:ser>
        <c:ser>
          <c:idx val="2"/>
          <c:order val="2"/>
          <c:tx>
            <c:strRef>
              <c:f>'Expenses Analysis'!$D$51</c:f>
              <c:strCache>
                <c:ptCount val="1"/>
                <c:pt idx="0">
                  <c:v>Utility-Exp (002) - Electricity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'Expenses Analysis'!$E$47:$P$47</c:f>
              <c:numCache>
                <c:formatCode>m/d/yy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xpenses Analysis'!$E$51:$P$51</c:f>
              <c:numCache>
                <c:formatCode>"$"#,##0.00;[Red]\-"$"#,##0.00</c:formatCode>
                <c:ptCount val="12"/>
                <c:pt idx="0">
                  <c:v>2300028.0101369992</c:v>
                </c:pt>
                <c:pt idx="1">
                  <c:v>2505939.5584575003</c:v>
                </c:pt>
                <c:pt idx="2">
                  <c:v>2627415.3951704986</c:v>
                </c:pt>
                <c:pt idx="3">
                  <c:v>2900613.3153855</c:v>
                </c:pt>
                <c:pt idx="4">
                  <c:v>2940556.1633002497</c:v>
                </c:pt>
                <c:pt idx="5">
                  <c:v>2582565.0096375002</c:v>
                </c:pt>
                <c:pt idx="6">
                  <c:v>3446732.8680624999</c:v>
                </c:pt>
                <c:pt idx="7">
                  <c:v>3483983.4045937499</c:v>
                </c:pt>
                <c:pt idx="8">
                  <c:v>3640816.4610781251</c:v>
                </c:pt>
                <c:pt idx="9">
                  <c:v>3250872.5897500003</c:v>
                </c:pt>
                <c:pt idx="10">
                  <c:v>3812121.7015625001</c:v>
                </c:pt>
                <c:pt idx="11">
                  <c:v>2923183.2132374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9C90-4F57-B081-F448435BFCC6}"/>
            </c:ext>
          </c:extLst>
        </c:ser>
        <c:ser>
          <c:idx val="3"/>
          <c:order val="3"/>
          <c:tx>
            <c:strRef>
              <c:f>'Expenses Analysis'!$D$52</c:f>
              <c:strCache>
                <c:ptCount val="1"/>
                <c:pt idx="0">
                  <c:v>Plant Maintenance (001)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numRef>
              <c:f>'Expenses Analysis'!$E$47:$P$47</c:f>
              <c:numCache>
                <c:formatCode>m/d/yy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xpenses Analysis'!$E$52:$P$52</c:f>
              <c:numCache>
                <c:formatCode>"$"#,##0.00;[Red]\-"$"#,##0.00</c:formatCode>
                <c:ptCount val="12"/>
                <c:pt idx="0">
                  <c:v>2073604.724326327</c:v>
                </c:pt>
                <c:pt idx="1">
                  <c:v>2269539.7804914797</c:v>
                </c:pt>
                <c:pt idx="2">
                  <c:v>2374998.790312151</c:v>
                </c:pt>
                <c:pt idx="3">
                  <c:v>2645968.110327912</c:v>
                </c:pt>
                <c:pt idx="4">
                  <c:v>2691801.6955241356</c:v>
                </c:pt>
                <c:pt idx="5">
                  <c:v>2348808.3419548003</c:v>
                </c:pt>
                <c:pt idx="6">
                  <c:v>2879996.1652659997</c:v>
                </c:pt>
                <c:pt idx="7">
                  <c:v>2972957.9397390001</c:v>
                </c:pt>
                <c:pt idx="8">
                  <c:v>3094867.6019314998</c:v>
                </c:pt>
                <c:pt idx="9">
                  <c:v>2768358.2978389999</c:v>
                </c:pt>
                <c:pt idx="10">
                  <c:v>3268026.2100749998</c:v>
                </c:pt>
                <c:pt idx="11">
                  <c:v>2363869.6207261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9C90-4F57-B081-F448435BFCC6}"/>
            </c:ext>
          </c:extLst>
        </c:ser>
        <c:ser>
          <c:idx val="4"/>
          <c:order val="4"/>
          <c:tx>
            <c:strRef>
              <c:f>'Expenses Analysis'!$D$53</c:f>
              <c:strCache>
                <c:ptCount val="1"/>
                <c:pt idx="0">
                  <c:v>Plant Outages (002)</c:v>
                </c:pt>
              </c:strCache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cat>
            <c:numRef>
              <c:f>'Expenses Analysis'!$E$47:$P$47</c:f>
              <c:numCache>
                <c:formatCode>m/d/yy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xpenses Analysis'!$E$53:$P$53</c:f>
              <c:numCache>
                <c:formatCode>"$"#,##0.00;[Red]\-"$"#,##0.00</c:formatCode>
                <c:ptCount val="12"/>
                <c:pt idx="0">
                  <c:v>1347738.8706587995</c:v>
                </c:pt>
                <c:pt idx="1">
                  <c:v>1561170.3574350001</c:v>
                </c:pt>
                <c:pt idx="2">
                  <c:v>1574874.1415601994</c:v>
                </c:pt>
                <c:pt idx="3">
                  <c:v>1880373.5227742002</c:v>
                </c:pt>
                <c:pt idx="4">
                  <c:v>1968683.2157081</c:v>
                </c:pt>
                <c:pt idx="5">
                  <c:v>1158623.1401823002</c:v>
                </c:pt>
                <c:pt idx="6">
                  <c:v>1176136.1610068001</c:v>
                </c:pt>
                <c:pt idx="7">
                  <c:v>1239117.5758722001</c:v>
                </c:pt>
                <c:pt idx="8">
                  <c:v>1215602.9551357001</c:v>
                </c:pt>
                <c:pt idx="9">
                  <c:v>1190750.2535102002</c:v>
                </c:pt>
                <c:pt idx="10">
                  <c:v>1381387.0449670001</c:v>
                </c:pt>
                <c:pt idx="11">
                  <c:v>1040665.7581107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9C90-4F57-B081-F448435BFCC6}"/>
            </c:ext>
          </c:extLst>
        </c:ser>
        <c:ser>
          <c:idx val="5"/>
          <c:order val="5"/>
          <c:tx>
            <c:strRef>
              <c:f>'Expenses Analysis'!$D$54</c:f>
              <c:strCache>
                <c:ptCount val="1"/>
                <c:pt idx="0">
                  <c:v>Plant Op. Costs (003)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numRef>
              <c:f>'Expenses Analysis'!$E$47:$P$47</c:f>
              <c:numCache>
                <c:formatCode>m/d/yy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xpenses Analysis'!$E$54:$P$54</c:f>
              <c:numCache>
                <c:formatCode>"$"#,##0.00;[Red]\-"$"#,##0.00</c:formatCode>
                <c:ptCount val="12"/>
                <c:pt idx="0">
                  <c:v>1800236.6472906992</c:v>
                </c:pt>
                <c:pt idx="1">
                  <c:v>1959718.9384044998</c:v>
                </c:pt>
                <c:pt idx="2">
                  <c:v>2069515.5841112991</c:v>
                </c:pt>
                <c:pt idx="3">
                  <c:v>2330999.3359503001</c:v>
                </c:pt>
                <c:pt idx="4">
                  <c:v>2376535.9434183999</c:v>
                </c:pt>
                <c:pt idx="5">
                  <c:v>1447049.2500542002</c:v>
                </c:pt>
                <c:pt idx="6">
                  <c:v>1483562.2037511999</c:v>
                </c:pt>
                <c:pt idx="7">
                  <c:v>1516247.7055998</c:v>
                </c:pt>
                <c:pt idx="8">
                  <c:v>1567231.2198758</c:v>
                </c:pt>
                <c:pt idx="9">
                  <c:v>1421177.7427773001</c:v>
                </c:pt>
                <c:pt idx="10">
                  <c:v>1665801.7318074999</c:v>
                </c:pt>
                <c:pt idx="11">
                  <c:v>1452590.2533372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9C90-4F57-B081-F448435BFCC6}"/>
            </c:ext>
          </c:extLst>
        </c:ser>
        <c:ser>
          <c:idx val="6"/>
          <c:order val="6"/>
          <c:tx>
            <c:strRef>
              <c:f>'Expenses Analysis'!$D$55</c:f>
              <c:strCache>
                <c:ptCount val="1"/>
                <c:pt idx="0">
                  <c:v>Plant Admin Costs (004)</c:v>
                </c:pt>
              </c:strCache>
            </c:strRef>
          </c:tx>
          <c:spPr>
            <a:ln w="28575" cap="rnd">
              <a:solidFill>
                <a:schemeClr val="accent1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Expenses Analysis'!$E$47:$P$47</c:f>
              <c:numCache>
                <c:formatCode>m/d/yy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xpenses Analysis'!$E$55:$P$55</c:f>
              <c:numCache>
                <c:formatCode>"$"#,##0.00;[Red]\-"$"#,##0.00</c:formatCode>
                <c:ptCount val="12"/>
                <c:pt idx="0">
                  <c:v>886197.60176639946</c:v>
                </c:pt>
                <c:pt idx="1">
                  <c:v>1012646.749821</c:v>
                </c:pt>
                <c:pt idx="2">
                  <c:v>1025398.9493285995</c:v>
                </c:pt>
                <c:pt idx="3">
                  <c:v>1186610.9527146001</c:v>
                </c:pt>
                <c:pt idx="4">
                  <c:v>1229462.2582892999</c:v>
                </c:pt>
                <c:pt idx="5">
                  <c:v>749668.56593790022</c:v>
                </c:pt>
                <c:pt idx="6">
                  <c:v>774322.04976840003</c:v>
                </c:pt>
                <c:pt idx="7">
                  <c:v>795356.48947859998</c:v>
                </c:pt>
                <c:pt idx="8">
                  <c:v>795992.24834010005</c:v>
                </c:pt>
                <c:pt idx="9">
                  <c:v>759387.99960660015</c:v>
                </c:pt>
                <c:pt idx="10">
                  <c:v>879614.44655700005</c:v>
                </c:pt>
                <c:pt idx="11">
                  <c:v>718766.352257100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9C90-4F57-B081-F448435BFCC6}"/>
            </c:ext>
          </c:extLst>
        </c:ser>
        <c:ser>
          <c:idx val="7"/>
          <c:order val="7"/>
          <c:tx>
            <c:strRef>
              <c:f>'Expenses Analysis'!$D$56</c:f>
              <c:strCache>
                <c:ptCount val="1"/>
                <c:pt idx="0">
                  <c:v>Labour-Costs (001)</c:v>
                </c:pt>
              </c:strCache>
            </c:strRef>
          </c:tx>
          <c:spPr>
            <a:ln w="28575" cap="rnd">
              <a:solidFill>
                <a:schemeClr val="accent2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Expenses Analysis'!$E$47:$P$47</c:f>
              <c:numCache>
                <c:formatCode>m/d/yy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xpenses Analysis'!$E$56:$P$56</c:f>
              <c:numCache>
                <c:formatCode>"$"#,##0.00;[Red]\-"$"#,##0.00</c:formatCode>
                <c:ptCount val="12"/>
                <c:pt idx="0">
                  <c:v>7367588.6791624967</c:v>
                </c:pt>
                <c:pt idx="1">
                  <c:v>7849336.0209874995</c:v>
                </c:pt>
                <c:pt idx="2">
                  <c:v>8389760.6297374964</c:v>
                </c:pt>
                <c:pt idx="3">
                  <c:v>9137407.9125625007</c:v>
                </c:pt>
                <c:pt idx="4">
                  <c:v>9187415.9798249993</c:v>
                </c:pt>
                <c:pt idx="5">
                  <c:v>5779740.0739000011</c:v>
                </c:pt>
                <c:pt idx="6">
                  <c:v>6008311.4579999996</c:v>
                </c:pt>
                <c:pt idx="7">
                  <c:v>6995040.989875</c:v>
                </c:pt>
                <c:pt idx="8">
                  <c:v>6352457.05155</c:v>
                </c:pt>
                <c:pt idx="9">
                  <c:v>6560328.9663875001</c:v>
                </c:pt>
                <c:pt idx="10">
                  <c:v>7526766.7026125006</c:v>
                </c:pt>
                <c:pt idx="11">
                  <c:v>6174477.10621250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9C90-4F57-B081-F448435BFCC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812705103"/>
        <c:axId val="1812689295"/>
        <c:extLst/>
      </c:lineChart>
      <c:dateAx>
        <c:axId val="1812705103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ko-KR"/>
          </a:p>
        </c:txPr>
        <c:crossAx val="1812689295"/>
        <c:crosses val="autoZero"/>
        <c:auto val="1"/>
        <c:lblOffset val="100"/>
        <c:baseTimeUnit val="months"/>
      </c:dateAx>
      <c:valAx>
        <c:axId val="181268929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.00;[Red]\-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ko-KR"/>
          </a:p>
        </c:txPr>
        <c:crossAx val="181270510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ko-K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ko-KR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0" i="0" u="none" strike="noStrike" kern="1200" cap="none" spc="5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pPr>
            <a:r>
              <a:rPr lang="en-US" sz="1200"/>
              <a:t>Kootha Expenses (2013- July</a:t>
            </a:r>
            <a:r>
              <a:rPr lang="en-US" sz="1200" baseline="0"/>
              <a:t> - 2014 June)</a:t>
            </a:r>
            <a:endParaRPr lang="en-US" sz="120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cap="none" spc="50" normalizeH="0" baseline="0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+mj-ea"/>
              <a:cs typeface="+mj-cs"/>
            </a:defRPr>
          </a:pPr>
          <a:endParaRPr lang="ko-KR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>
                <a:alpha val="7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1.7146921800138984E-17"/>
                  <c:y val="7.0781403105846415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3751-4239-ADC8-7ADFE82564CE}"/>
                </c:ext>
              </c:extLst>
            </c:dLbl>
            <c:dLbl>
              <c:idx val="1"/>
              <c:layout>
                <c:manualLayout>
                  <c:x val="1.8705948963101263E-3"/>
                  <c:y val="-3.6190887982322901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3751-4239-ADC8-7ADFE82564CE}"/>
                </c:ext>
              </c:extLst>
            </c:dLbl>
            <c:dLbl>
              <c:idx val="2"/>
              <c:layout>
                <c:manualLayout>
                  <c:x val="0"/>
                  <c:y val="3.5123972743123311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3751-4239-ADC8-7ADFE82564CE}"/>
                </c:ext>
              </c:extLst>
            </c:dLbl>
            <c:dLbl>
              <c:idx val="3"/>
              <c:layout>
                <c:manualLayout>
                  <c:x val="1.8705948963101263E-3"/>
                  <c:y val="-3.6190887982322901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3751-4239-ADC8-7ADFE82564CE}"/>
                </c:ext>
              </c:extLst>
            </c:dLbl>
            <c:dLbl>
              <c:idx val="4"/>
              <c:layout>
                <c:manualLayout>
                  <c:x val="1.8705948963101263E-3"/>
                  <c:y val="-7.184831834504731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3751-4239-ADC8-7ADFE82564CE}"/>
                </c:ext>
              </c:extLst>
            </c:dLbl>
            <c:dLbl>
              <c:idx val="5"/>
              <c:layout>
                <c:manualLayout>
                  <c:x val="1.8705948963101263E-3"/>
                  <c:y val="1.0643883346856953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3751-4239-ADC8-7ADFE82564CE}"/>
                </c:ext>
              </c:extLst>
            </c:dLbl>
            <c:dLbl>
              <c:idx val="6"/>
              <c:layout>
                <c:manualLayout>
                  <c:x val="3.7411897926202527E-3"/>
                  <c:y val="3.5123972743123311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3751-4239-ADC8-7ADFE82564CE}"/>
                </c:ext>
              </c:extLst>
            </c:dLbl>
            <c:dLbl>
              <c:idx val="7"/>
              <c:layout>
                <c:manualLayout>
                  <c:x val="1.8705948963101263E-3"/>
                  <c:y val="-7.1848318345046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3751-4239-ADC8-7ADFE82564CE}"/>
                </c:ext>
              </c:extLst>
            </c:dLbl>
            <c:numFmt formatCode="&quot;$&quot;#.##,,&quot; M&quot;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ko-KR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Expenses Analysis'!$D$15:$D$22</c:f>
              <c:strCache>
                <c:ptCount val="8"/>
                <c:pt idx="0">
                  <c:v>Chem-Exp (001)</c:v>
                </c:pt>
                <c:pt idx="1">
                  <c:v>Utility-Exp (002) - Heating</c:v>
                </c:pt>
                <c:pt idx="2">
                  <c:v>Utility-Exp (002) - Electricity</c:v>
                </c:pt>
                <c:pt idx="3">
                  <c:v>Plant Maintenance (001)</c:v>
                </c:pt>
                <c:pt idx="4">
                  <c:v>Plant Outages (002)</c:v>
                </c:pt>
                <c:pt idx="5">
                  <c:v>Plant Op. Costs (003)</c:v>
                </c:pt>
                <c:pt idx="6">
                  <c:v>Plant Admin Costs (004)</c:v>
                </c:pt>
                <c:pt idx="7">
                  <c:v>Labour-Costs (001)</c:v>
                </c:pt>
              </c:strCache>
            </c:strRef>
          </c:cat>
          <c:val>
            <c:numRef>
              <c:f>'Expenses Analysis'!$R$15:$R$22</c:f>
              <c:numCache>
                <c:formatCode>"$"#,##0.00;[Red]\-"$"#,##0.00</c:formatCode>
                <c:ptCount val="8"/>
                <c:pt idx="0">
                  <c:v>10125517.983652497</c:v>
                </c:pt>
                <c:pt idx="1">
                  <c:v>4720521.2044999981</c:v>
                </c:pt>
                <c:pt idx="2">
                  <c:v>7080781.8067499967</c:v>
                </c:pt>
                <c:pt idx="3">
                  <c:v>4863981.2092249971</c:v>
                </c:pt>
                <c:pt idx="4">
                  <c:v>3054127.7360249986</c:v>
                </c:pt>
                <c:pt idx="5">
                  <c:v>3450033.1832874976</c:v>
                </c:pt>
                <c:pt idx="6">
                  <c:v>2375432.6835749988</c:v>
                </c:pt>
                <c:pt idx="7">
                  <c:v>15553428.2853124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3751-4239-ADC8-7ADFE82564CE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80"/>
        <c:overlap val="25"/>
        <c:axId val="1749103887"/>
        <c:axId val="1749102639"/>
      </c:barChart>
      <c:catAx>
        <c:axId val="1749103887"/>
        <c:scaling>
          <c:orientation val="minMax"/>
        </c:scaling>
        <c:delete val="0"/>
        <c:axPos val="b"/>
        <c:numFmt formatCode="&quot;$&quot;#,##0.00;[Red]\-&quot;$&quot;#,##0.00" sourceLinked="0"/>
        <c:majorTickMark val="none"/>
        <c:minorTickMark val="none"/>
        <c:tickLblPos val="nextTo"/>
        <c:spPr>
          <a:noFill/>
          <a:ln w="1587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cap="none" spc="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ko-KR"/>
          </a:p>
        </c:txPr>
        <c:crossAx val="1749102639"/>
        <c:crosses val="autoZero"/>
        <c:auto val="1"/>
        <c:lblAlgn val="ctr"/>
        <c:lblOffset val="100"/>
        <c:noMultiLvlLbl val="0"/>
      </c:catAx>
      <c:valAx>
        <c:axId val="174910263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5000"/>
                  <a:lumOff val="95000"/>
                </a:schemeClr>
              </a:solidFill>
              <a:round/>
            </a:ln>
            <a:effectLst/>
          </c:spPr>
        </c:majorGridlines>
        <c:numFmt formatCode="&quot;$&quot;#.##,,&quot; M&quot;;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spc="2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ko-KR"/>
          </a:p>
        </c:txPr>
        <c:crossAx val="174910388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ko-KR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0" i="0" u="none" strike="noStrike" kern="1200" cap="none" spc="5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pPr>
            <a:r>
              <a:rPr lang="en-US" sz="1200"/>
              <a:t>Surjek </a:t>
            </a:r>
            <a:r>
              <a:rPr lang="en-US" altLang="ko-KR" sz="1200" b="0" i="0" u="none" strike="noStrike" cap="none" normalizeH="0" baseline="0">
                <a:effectLst/>
              </a:rPr>
              <a:t>Expenses (2013- July - 2014 June)</a:t>
            </a:r>
            <a:endParaRPr lang="en-US" sz="120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cap="none" spc="50" normalizeH="0" baseline="0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+mj-ea"/>
              <a:cs typeface="+mj-cs"/>
            </a:defRPr>
          </a:pPr>
          <a:endParaRPr lang="ko-KR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>
                <a:alpha val="70000"/>
              </a:schemeClr>
            </a:solidFill>
            <a:ln>
              <a:noFill/>
            </a:ln>
            <a:effectLst/>
          </c:spPr>
          <c:invertIfNegative val="0"/>
          <c:dLbls>
            <c:numFmt formatCode="&quot;$&quot;#.##,,&quot; M&quot;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ko-K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Expenses Analysis'!$D$25:$D$32</c:f>
              <c:strCache>
                <c:ptCount val="8"/>
                <c:pt idx="0">
                  <c:v>Chem-Exp (001)</c:v>
                </c:pt>
                <c:pt idx="1">
                  <c:v>Utility-Exp (002) - Heating</c:v>
                </c:pt>
                <c:pt idx="2">
                  <c:v>Utility-Exp (002) - Electricity</c:v>
                </c:pt>
                <c:pt idx="3">
                  <c:v>Plant Maintenance (001)</c:v>
                </c:pt>
                <c:pt idx="4">
                  <c:v>Plant Outages (002)</c:v>
                </c:pt>
                <c:pt idx="5">
                  <c:v>Plant Op. Costs (003)</c:v>
                </c:pt>
                <c:pt idx="6">
                  <c:v>Plant Admin Costs (004)</c:v>
                </c:pt>
                <c:pt idx="7">
                  <c:v>Labour-Costs (001)</c:v>
                </c:pt>
              </c:strCache>
            </c:strRef>
          </c:cat>
          <c:val>
            <c:numRef>
              <c:f>'Expenses Analysis'!$R$25:$R$32</c:f>
              <c:numCache>
                <c:formatCode>"$"#,##0.00;[Red]\-"$"#,##0.00</c:formatCode>
                <c:ptCount val="8"/>
                <c:pt idx="0">
                  <c:v>46326012.775156811</c:v>
                </c:pt>
                <c:pt idx="1">
                  <c:v>23163006.387578405</c:v>
                </c:pt>
                <c:pt idx="2">
                  <c:v>19302505.322982002</c:v>
                </c:pt>
                <c:pt idx="3">
                  <c:v>18221565.024895009</c:v>
                </c:pt>
                <c:pt idx="4">
                  <c:v>11461092.4195712</c:v>
                </c:pt>
                <c:pt idx="5">
                  <c:v>12135274.3266048</c:v>
                </c:pt>
                <c:pt idx="6">
                  <c:v>6573273.5935776001</c:v>
                </c:pt>
                <c:pt idx="7">
                  <c:v>42136369.1896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CD-4D76-89E2-220051504C8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25"/>
        <c:axId val="1823575375"/>
        <c:axId val="1823574543"/>
      </c:barChart>
      <c:catAx>
        <c:axId val="182357537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587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cap="none" spc="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ko-KR"/>
          </a:p>
        </c:txPr>
        <c:crossAx val="1823574543"/>
        <c:crosses val="autoZero"/>
        <c:auto val="1"/>
        <c:lblAlgn val="ctr"/>
        <c:lblOffset val="100"/>
        <c:noMultiLvlLbl val="0"/>
      </c:catAx>
      <c:valAx>
        <c:axId val="182357454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5000"/>
                  <a:lumOff val="95000"/>
                </a:schemeClr>
              </a:solidFill>
              <a:round/>
            </a:ln>
            <a:effectLst/>
          </c:spPr>
        </c:majorGridlines>
        <c:numFmt formatCode="&quot;$&quot;#.##,,&quot; M&quot;;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spc="2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ko-KR"/>
          </a:p>
        </c:txPr>
        <c:crossAx val="182357537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ko-K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1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800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lt1"/>
    </cs:fontRef>
    <cs:defRPr sz="800" b="1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8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10.xml><?xml version="1.0" encoding="utf-8"?>
<cs:chartStyle xmlns:cs="http://schemas.microsoft.com/office/drawing/2012/chartStyle" xmlns:a="http://schemas.openxmlformats.org/drawingml/2006/main" id="21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587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 cap="none" spc="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>
            <a:alpha val="70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70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 baseline="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ajor">
      <a:schemeClr val="tx1">
        <a:lumMod val="65000"/>
        <a:lumOff val="35000"/>
      </a:schemeClr>
    </cs:fontRef>
    <cs:defRPr sz="1600" b="0" i="0" kern="1200" cap="none" spc="5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587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 spc="20" baseline="0"/>
  </cs:valueAxis>
  <cs:wall>
    <cs:lnRef idx="0"/>
    <cs:fillRef idx="0"/>
    <cs:effectRef idx="0"/>
    <cs:fontRef idx="minor">
      <a:schemeClr val="dk1"/>
    </cs:fontRef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800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lt1"/>
    </cs:fontRef>
    <cs:defRPr sz="900" b="0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8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1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587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 cap="none" spc="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>
            <a:alpha val="70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70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 baseline="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ajor">
      <a:schemeClr val="tx1">
        <a:lumMod val="65000"/>
        <a:lumOff val="35000"/>
      </a:schemeClr>
    </cs:fontRef>
    <cs:defRPr sz="1600" b="0" i="0" kern="1200" cap="none" spc="5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587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 spc="20" baseline="0"/>
  </cs:valueAxis>
  <cs:wall>
    <cs:lnRef idx="0"/>
    <cs:fillRef idx="0"/>
    <cs:effectRef idx="0"/>
    <cs:fontRef idx="minor">
      <a:schemeClr val="dk1"/>
    </cs:fontRef>
  </cs:wall>
</cs:chartStyle>
</file>

<file path=ppt/charts/style9.xml><?xml version="1.0" encoding="utf-8"?>
<cs:chartStyle xmlns:cs="http://schemas.microsoft.com/office/drawing/2012/chartStyle" xmlns:a="http://schemas.openxmlformats.org/drawingml/2006/main" id="21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587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 cap="none" spc="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>
            <a:alpha val="70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70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 baseline="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ajor">
      <a:schemeClr val="tx1">
        <a:lumMod val="65000"/>
        <a:lumOff val="35000"/>
      </a:schemeClr>
    </cs:fontRef>
    <cs:defRPr sz="1600" b="0" i="0" kern="1200" cap="none" spc="5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587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 spc="20" baseline="0"/>
  </cs:valueAxis>
  <cs:wall>
    <cs:lnRef idx="0"/>
    <cs:fillRef idx="0"/>
    <cs:effectRef idx="0"/>
    <cs:fontRef idx="minor">
      <a:schemeClr val="dk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CB2C4C2-2D36-4DCE-92DC-7F8FD612207D}" type="datetimeFigureOut">
              <a:rPr lang="en-AU" smtClean="0"/>
              <a:t>4/11/2021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3188" y="1143000"/>
            <a:ext cx="41116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2A352E8-A3D8-466D-9C64-BEFAB9E6BDD7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5345672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A352E8-A3D8-466D-9C64-BEFAB9E6BDD7}" type="slidenum">
              <a:rPr lang="en-AU" smtClean="0"/>
              <a:t>1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35191710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A352E8-A3D8-466D-9C64-BEFAB9E6BDD7}" type="slidenum">
              <a:rPr lang="en-AU" smtClean="0"/>
              <a:t>2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87790020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defRPr/>
            </a:pPr>
            <a:endParaRPr lang="en-AU" altLang="ko-KR" sz="1200" b="1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A352E8-A3D8-466D-9C64-BEFAB9E6BDD7}" type="slidenum">
              <a:rPr lang="en-AU" smtClean="0"/>
              <a:t>3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88534862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A352E8-A3D8-466D-9C64-BEFAB9E6BDD7}" type="slidenum">
              <a:rPr lang="en-AU" smtClean="0"/>
              <a:t>4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59434597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A352E8-A3D8-466D-9C64-BEFAB9E6BDD7}" type="slidenum">
              <a:rPr lang="en-AU" smtClean="0"/>
              <a:t>5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21330024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A352E8-A3D8-466D-9C64-BEFAB9E6BDD7}" type="slidenum">
              <a:rPr lang="en-AU" smtClean="0"/>
              <a:t>6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6445166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19640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ltGray">
          <a:xfrm>
            <a:off x="4030876" y="132157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noProof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WORKING DRAFT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ltGray">
          <a:xfrm>
            <a:off x="4030876" y="436846"/>
            <a:ext cx="218970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noProof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Printed 2/27/2017 7:03 AM India Standard Time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ltGray">
          <a:xfrm>
            <a:off x="4030876" y="277771"/>
            <a:ext cx="292227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AU" sz="800" baseline="0" noProof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Last Modified 10/03/2017 4:54 PM W. Australia Standard Time</a:t>
            </a:r>
            <a:endParaRPr lang="en-US" sz="800" baseline="0" noProof="0">
              <a:solidFill>
                <a:schemeClr val="tx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Document type" hidden="1"/>
          <p:cNvSpPr txBox="1">
            <a:spLocks noChangeArrowheads="1"/>
          </p:cNvSpPr>
          <p:nvPr/>
        </p:nvSpPr>
        <p:spPr bwMode="ltGray">
          <a:xfrm>
            <a:off x="4030876" y="5305595"/>
            <a:ext cx="4769712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  <p:sp>
        <p:nvSpPr>
          <p:cNvPr id="19" name="doc id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ltGray">
          <a:xfrm>
            <a:off x="4030876" y="650494"/>
            <a:ext cx="4769711" cy="98488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200" b="0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ltGray">
          <a:xfrm>
            <a:off x="4030876" y="1887470"/>
            <a:ext cx="4769712" cy="215444"/>
          </a:xfrm>
        </p:spPr>
        <p:txBody>
          <a:bodyPr wrap="square">
            <a:spAutoFit/>
          </a:bodyPr>
          <a:lstStyle>
            <a:lvl1pPr>
              <a:defRPr sz="1400" cap="none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20" name="Rectangle 19"/>
          <p:cNvSpPr/>
          <p:nvPr userDrawn="1"/>
        </p:nvSpPr>
        <p:spPr bwMode="ltGray">
          <a:xfrm>
            <a:off x="3175" y="6233824"/>
            <a:ext cx="8958263" cy="48765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chemeClr val="tx1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 bwMode="ltGray">
          <a:xfrm>
            <a:off x="0" y="6187568"/>
            <a:ext cx="8961438" cy="4571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8651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483748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3" Type="http://schemas.openxmlformats.org/officeDocument/2006/relationships/theme" Target="../theme/theme1.xml"/><Relationship Id="rId21" Type="http://schemas.openxmlformats.org/officeDocument/2006/relationships/tags" Target="../tags/tag17.xml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2.xml"/><Relationship Id="rId20" Type="http://schemas.openxmlformats.org/officeDocument/2006/relationships/tags" Target="../tags/tag16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24" Type="http://schemas.openxmlformats.org/officeDocument/2006/relationships/oleObject" Target="../embeddings/oleObject1.bin"/><Relationship Id="rId5" Type="http://schemas.openxmlformats.org/officeDocument/2006/relationships/tags" Target="../tags/tag1.xml"/><Relationship Id="rId15" Type="http://schemas.openxmlformats.org/officeDocument/2006/relationships/tags" Target="../tags/tag11.xml"/><Relationship Id="rId23" Type="http://schemas.openxmlformats.org/officeDocument/2006/relationships/tags" Target="../tags/tag19.xml"/><Relationship Id="rId10" Type="http://schemas.openxmlformats.org/officeDocument/2006/relationships/tags" Target="../tags/tag6.xml"/><Relationship Id="rId19" Type="http://schemas.openxmlformats.org/officeDocument/2006/relationships/tags" Target="../tags/tag15.xml"/><Relationship Id="rId4" Type="http://schemas.openxmlformats.org/officeDocument/2006/relationships/vmlDrawing" Target="../drawings/vmlDrawing1.v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tags" Target="../tags/tag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01323714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799945" y="1940591"/>
            <a:ext cx="218329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AU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0/03/2017 4:54 PM W. Australia Standard Time</a:t>
            </a:r>
            <a:endParaRPr lang="en-US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074057" y="4114417"/>
            <a:ext cx="163506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/27/2017 7:03 AM India Standard Time</a:t>
            </a:r>
            <a:endParaRPr lang="en-US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29657" y="231777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71451" y="185145"/>
            <a:ext cx="86185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71450" y="35048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baseline="0" noProof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71450" y="519908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29657" y="1747865"/>
            <a:ext cx="43021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8" name="LegendBoxes" hidden="1"/>
          <p:cNvGrpSpPr>
            <a:grpSpLocks/>
          </p:cNvGrpSpPr>
          <p:nvPr/>
        </p:nvGrpSpPr>
        <p:grpSpPr bwMode="auto">
          <a:xfrm>
            <a:off x="8026400" y="237755"/>
            <a:ext cx="763588" cy="996951"/>
            <a:chOff x="4936" y="176"/>
            <a:chExt cx="481" cy="628"/>
          </a:xfrm>
        </p:grpSpPr>
        <p:sp>
          <p:nvSpPr>
            <p:cNvPr id="20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1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2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3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4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5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6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7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</p:grpSp>
      <p:grpSp>
        <p:nvGrpSpPr>
          <p:cNvPr id="28" name="LegendLines" hidden="1"/>
          <p:cNvGrpSpPr>
            <a:grpSpLocks/>
          </p:cNvGrpSpPr>
          <p:nvPr/>
        </p:nvGrpSpPr>
        <p:grpSpPr bwMode="auto">
          <a:xfrm>
            <a:off x="7718425" y="237755"/>
            <a:ext cx="1071563" cy="730251"/>
            <a:chOff x="4750" y="176"/>
            <a:chExt cx="675" cy="460"/>
          </a:xfrm>
        </p:grpSpPr>
        <p:sp>
          <p:nvSpPr>
            <p:cNvPr id="29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0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1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2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3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4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35" name="McK Sticker" hidden="1"/>
          <p:cNvGrpSpPr/>
          <p:nvPr/>
        </p:nvGrpSpPr>
        <p:grpSpPr bwMode="auto">
          <a:xfrm>
            <a:off x="8064982" y="237755"/>
            <a:ext cx="725006" cy="150811"/>
            <a:chOff x="8015769" y="285750"/>
            <a:chExt cx="725006" cy="150811"/>
          </a:xfrm>
        </p:grpSpPr>
        <p:sp>
          <p:nvSpPr>
            <p:cNvPr id="36" name="StickerRectangle"/>
            <p:cNvSpPr>
              <a:spLocks noChangeArrowheads="1"/>
            </p:cNvSpPr>
            <p:nvPr/>
          </p:nvSpPr>
          <p:spPr bwMode="auto">
            <a:xfrm>
              <a:off x="8015769" y="285750"/>
              <a:ext cx="72500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80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37" name="AutoShape 31"/>
            <p:cNvCxnSpPr>
              <a:cxnSpLocks noChangeShapeType="1"/>
              <a:stCxn id="36" idx="2"/>
              <a:endCxn id="36" idx="4"/>
            </p:cNvCxnSpPr>
            <p:nvPr/>
          </p:nvCxnSpPr>
          <p:spPr bwMode="auto">
            <a:xfrm>
              <a:off x="801576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8" name="AutoShape 32"/>
            <p:cNvCxnSpPr>
              <a:cxnSpLocks noChangeShapeType="1"/>
              <a:stCxn id="36" idx="4"/>
              <a:endCxn id="36" idx="6"/>
            </p:cNvCxnSpPr>
            <p:nvPr/>
          </p:nvCxnSpPr>
          <p:spPr bwMode="auto">
            <a:xfrm>
              <a:off x="8015769" y="436561"/>
              <a:ext cx="72500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63" name="Slide Number"/>
          <p:cNvSpPr txBox="1">
            <a:spLocks/>
          </p:cNvSpPr>
          <p:nvPr/>
        </p:nvSpPr>
        <p:spPr bwMode="auto">
          <a:xfrm>
            <a:off x="8664954" y="646255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800" smtClean="0">
                <a:solidFill>
                  <a:schemeClr val="tx1"/>
                </a:solidFill>
              </a:rPr>
              <a:pPr lvl="0" algn="r"/>
              <a:t>‹#›</a:t>
            </a:fld>
            <a:endParaRPr lang="en-US" sz="800">
              <a:solidFill>
                <a:schemeClr val="tx1"/>
              </a:solidFill>
            </a:endParaRPr>
          </a:p>
        </p:txBody>
      </p:sp>
      <p:grpSp>
        <p:nvGrpSpPr>
          <p:cNvPr id="64" name="Moon" hidden="1"/>
          <p:cNvGrpSpPr>
            <a:grpSpLocks noChangeAspect="1"/>
          </p:cNvGrpSpPr>
          <p:nvPr>
            <p:custDataLst>
              <p:tags r:id="rId6"/>
            </p:custDataLst>
          </p:nvPr>
        </p:nvGrpSpPr>
        <p:grpSpPr bwMode="auto">
          <a:xfrm>
            <a:off x="7170608" y="764013"/>
            <a:ext cx="254000" cy="254000"/>
            <a:chOff x="1600" y="1600"/>
            <a:chExt cx="160" cy="160"/>
          </a:xfrm>
        </p:grpSpPr>
        <p:sp>
          <p:nvSpPr>
            <p:cNvPr id="65" name="Oval 90"/>
            <p:cNvSpPr>
              <a:spLocks noChangeAspect="1" noChangeArrowheads="1"/>
            </p:cNvSpPr>
            <p:nvPr>
              <p:custDataLst>
                <p:tags r:id="rId22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6" name="Arc 91"/>
            <p:cNvSpPr>
              <a:spLocks noChangeAspect="1"/>
            </p:cNvSpPr>
            <p:nvPr>
              <p:custDataLst>
                <p:tags r:id="rId23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67" name="LegendMoons" hidden="1"/>
          <p:cNvGrpSpPr/>
          <p:nvPr/>
        </p:nvGrpSpPr>
        <p:grpSpPr bwMode="auto">
          <a:xfrm>
            <a:off x="7959558" y="237755"/>
            <a:ext cx="830430" cy="1306516"/>
            <a:chOff x="5428012" y="273840"/>
            <a:chExt cx="830430" cy="1306516"/>
          </a:xfrm>
        </p:grpSpPr>
        <p:sp>
          <p:nvSpPr>
            <p:cNvPr id="68" name="Legend1"/>
            <p:cNvSpPr>
              <a:spLocks noChangeArrowheads="1"/>
            </p:cNvSpPr>
            <p:nvPr/>
          </p:nvSpPr>
          <p:spPr bwMode="auto">
            <a:xfrm>
              <a:off x="5748687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auto">
            <a:xfrm>
              <a:off x="5748687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auto">
            <a:xfrm>
              <a:off x="5748687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auto">
            <a:xfrm>
              <a:off x="5748687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2" name="Legend5"/>
            <p:cNvSpPr>
              <a:spLocks noChangeArrowheads="1"/>
            </p:cNvSpPr>
            <p:nvPr/>
          </p:nvSpPr>
          <p:spPr bwMode="auto">
            <a:xfrm>
              <a:off x="5748687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grpSp>
          <p:nvGrpSpPr>
            <p:cNvPr id="73" name="MoonLegend1"/>
            <p:cNvGrpSpPr>
              <a:grpSpLocks noChangeAspect="1"/>
            </p:cNvGrpSpPr>
            <p:nvPr userDrawn="1">
              <p:custDataLst>
                <p:tags r:id="rId7"/>
              </p:custDataLst>
            </p:nvPr>
          </p:nvGrpSpPr>
          <p:grpSpPr bwMode="auto">
            <a:xfrm>
              <a:off x="5428012" y="273840"/>
              <a:ext cx="209550" cy="209551"/>
              <a:chOff x="1694" y="2044"/>
              <a:chExt cx="160" cy="160"/>
            </a:xfrm>
          </p:grpSpPr>
          <p:sp>
            <p:nvSpPr>
              <p:cNvPr id="8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4" name="MoonLegend2"/>
            <p:cNvGrpSpPr>
              <a:grpSpLocks noChangeAspect="1"/>
            </p:cNvGrpSpPr>
            <p:nvPr userDrawn="1">
              <p:custDataLst>
                <p:tags r:id="rId8"/>
              </p:custDataLst>
            </p:nvPr>
          </p:nvGrpSpPr>
          <p:grpSpPr bwMode="auto">
            <a:xfrm>
              <a:off x="5428012" y="548081"/>
              <a:ext cx="209550" cy="209551"/>
              <a:chOff x="1694" y="2044"/>
              <a:chExt cx="160" cy="160"/>
            </a:xfrm>
          </p:grpSpPr>
          <p:sp>
            <p:nvSpPr>
              <p:cNvPr id="84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5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5" name="MoonLegend3"/>
            <p:cNvGrpSpPr>
              <a:grpSpLocks noChangeAspect="1"/>
            </p:cNvGrpSpPr>
            <p:nvPr userDrawn="1">
              <p:custDataLst>
                <p:tags r:id="rId9"/>
              </p:custDataLst>
            </p:nvPr>
          </p:nvGrpSpPr>
          <p:grpSpPr bwMode="auto">
            <a:xfrm>
              <a:off x="5428012" y="822322"/>
              <a:ext cx="209550" cy="209551"/>
              <a:chOff x="1694" y="2044"/>
              <a:chExt cx="160" cy="160"/>
            </a:xfrm>
          </p:grpSpPr>
          <p:sp>
            <p:nvSpPr>
              <p:cNvPr id="82" name="Oval 4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3" name="Arc 42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6" name="MoonLegend4"/>
            <p:cNvGrpSpPr>
              <a:grpSpLocks noChangeAspect="1"/>
            </p:cNvGrpSpPr>
            <p:nvPr userDrawn="1">
              <p:custDataLst>
                <p:tags r:id="rId10"/>
              </p:custDataLst>
            </p:nvPr>
          </p:nvGrpSpPr>
          <p:grpSpPr bwMode="auto">
            <a:xfrm>
              <a:off x="5428012" y="1096563"/>
              <a:ext cx="209550" cy="209551"/>
              <a:chOff x="1694" y="2044"/>
              <a:chExt cx="160" cy="160"/>
            </a:xfrm>
          </p:grpSpPr>
          <p:sp>
            <p:nvSpPr>
              <p:cNvPr id="80" name="Oval 41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1" name="Arc 42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7" name="MoonLegend5"/>
            <p:cNvGrpSpPr>
              <a:grpSpLocks noChangeAspect="1"/>
            </p:cNvGrpSpPr>
            <p:nvPr userDrawn="1">
              <p:custDataLst>
                <p:tags r:id="rId11"/>
              </p:custDataLst>
            </p:nvPr>
          </p:nvGrpSpPr>
          <p:grpSpPr bwMode="auto">
            <a:xfrm>
              <a:off x="5428012" y="1370805"/>
              <a:ext cx="209550" cy="209551"/>
              <a:chOff x="1694" y="2044"/>
              <a:chExt cx="160" cy="160"/>
            </a:xfrm>
          </p:grpSpPr>
          <p:sp>
            <p:nvSpPr>
              <p:cNvPr id="78" name="Oval 4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79" name="Arc 42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</p:grpSp>
      <p:grpSp>
        <p:nvGrpSpPr>
          <p:cNvPr id="3" name="Slide Elements" hidden="1"/>
          <p:cNvGrpSpPr/>
          <p:nvPr/>
        </p:nvGrpSpPr>
        <p:grpSpPr bwMode="auto">
          <a:xfrm>
            <a:off x="171450" y="6276179"/>
            <a:ext cx="7277099" cy="309484"/>
            <a:chOff x="171451" y="6321899"/>
            <a:chExt cx="7200000" cy="309484"/>
          </a:xfrm>
        </p:grpSpPr>
        <p:sp>
          <p:nvSpPr>
            <p:cNvPr id="89" name="4. Footnote"/>
            <p:cNvSpPr txBox="1">
              <a:spLocks noChangeArrowheads="1"/>
            </p:cNvSpPr>
            <p:nvPr/>
          </p:nvSpPr>
          <p:spPr bwMode="auto">
            <a:xfrm>
              <a:off x="171451" y="6321899"/>
              <a:ext cx="720000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725" indent="-85725">
                <a:defRPr lang="x-none"/>
              </a:pPr>
              <a:r>
                <a:rPr lang="x-none" sz="800" baseline="0">
                  <a:solidFill>
                    <a:schemeClr val="tx1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90" name="5. Source"/>
            <p:cNvSpPr>
              <a:spLocks noChangeArrowheads="1"/>
            </p:cNvSpPr>
            <p:nvPr/>
          </p:nvSpPr>
          <p:spPr bwMode="auto">
            <a:xfrm>
              <a:off x="171451" y="6508272"/>
              <a:ext cx="720000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409575" indent="-409575" defTabSz="895350">
                <a:tabLst>
                  <a:tab pos="409575" algn="l"/>
                </a:tabLst>
              </a:pPr>
              <a:r>
                <a:rPr lang="x-none" sz="800" baseline="0">
                  <a:solidFill>
                    <a:schemeClr val="tx1"/>
                  </a:solidFill>
                  <a:latin typeface="+mn-lt"/>
                  <a:ea typeface="+mn-ea"/>
                </a:rPr>
                <a:t>Source : Source</a:t>
              </a:r>
            </a:p>
          </p:txBody>
        </p:sp>
      </p:grpSp>
      <p:sp>
        <p:nvSpPr>
          <p:cNvPr id="62" name="Rectangle 61"/>
          <p:cNvSpPr/>
          <p:nvPr/>
        </p:nvSpPr>
        <p:spPr bwMode="auto">
          <a:xfrm>
            <a:off x="0" y="6674787"/>
            <a:ext cx="8961438" cy="45719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94042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accent3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5.xml"/><Relationship Id="rId4" Type="http://schemas.openxmlformats.org/officeDocument/2006/relationships/chart" Target="../charts/char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10.xml"/><Relationship Id="rId4" Type="http://schemas.openxmlformats.org/officeDocument/2006/relationships/chart" Target="../charts/chart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13.xml"/><Relationship Id="rId4" Type="http://schemas.openxmlformats.org/officeDocument/2006/relationships/chart" Target="../charts/char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4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430887"/>
          </a:xfrm>
        </p:spPr>
        <p:txBody>
          <a:bodyPr/>
          <a:lstStyle/>
          <a:p>
            <a:r>
              <a:rPr lang="en-GB" sz="1400" b="1"/>
              <a:t>Segmentation of the revenues by unit, reveals that of the three (3) customer segments, Surjek is the  most popular, followed by Jutik ($163M) and lastly Kootha Sales ($70M). </a:t>
            </a:r>
            <a:endParaRPr lang="en-AU" sz="1400" b="1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728884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3F338F1D-7985-4FC8-AE6B-697BF872DCF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23817599"/>
              </p:ext>
            </p:extLst>
          </p:nvPr>
        </p:nvGraphicFramePr>
        <p:xfrm>
          <a:off x="0" y="1285394"/>
          <a:ext cx="3884501" cy="34467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31D2DB8E-6A37-4A5C-92A7-68125E241BC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97836751"/>
              </p:ext>
            </p:extLst>
          </p:nvPr>
        </p:nvGraphicFramePr>
        <p:xfrm>
          <a:off x="3884500" y="1225924"/>
          <a:ext cx="5024549" cy="35656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9A63765D-C29D-4A81-9534-E13ABC4830F5}"/>
              </a:ext>
            </a:extLst>
          </p:cNvPr>
          <p:cNvSpPr txBox="1"/>
          <p:nvPr/>
        </p:nvSpPr>
        <p:spPr>
          <a:xfrm>
            <a:off x="339968" y="5183336"/>
            <a:ext cx="7765267" cy="134504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ko-KR" sz="1400"/>
              <a:t>Surjek shows the highest revenue and Kootha shows the lowest revenue among three units.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ko-KR" sz="1400"/>
              <a:t>Private water hedge sales portion is the biggest in all three units. 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ko-KR" sz="1400"/>
              <a:t>Private water hedge sales revenue of Surjek is higher than Kootha’s total revenue. </a:t>
            </a:r>
          </a:p>
          <a:p>
            <a:pPr>
              <a:lnSpc>
                <a:spcPct val="150000"/>
              </a:lnSpc>
            </a:pPr>
            <a:endParaRPr lang="ko-KR" altLang="en-US" sz="1400"/>
          </a:p>
        </p:txBody>
      </p:sp>
    </p:spTree>
    <p:extLst>
      <p:ext uri="{BB962C8B-B14F-4D97-AF65-F5344CB8AC3E}">
        <p14:creationId xmlns:p14="http://schemas.microsoft.com/office/powerpoint/2010/main" val="27484770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430887"/>
          </a:xfrm>
        </p:spPr>
        <p:txBody>
          <a:bodyPr/>
          <a:lstStyle/>
          <a:p>
            <a:r>
              <a:rPr lang="en-GB" sz="1400" b="1"/>
              <a:t>Of the ($436)¹ in Revenue Sales over the July-2013 to June-2014 Period, Surjek provides close to 50% of Sales Volumes ($202), with Jutik ($ 163 M) and Kootha ($70) providing the remaining.</a:t>
            </a:r>
            <a:endParaRPr lang="en-AU" sz="1400" b="1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728884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B5D18292-FE24-4CB2-87CD-299583278E20}"/>
              </a:ext>
            </a:extLst>
          </p:cNvPr>
          <p:cNvSpPr txBox="1"/>
          <p:nvPr/>
        </p:nvSpPr>
        <p:spPr>
          <a:xfrm>
            <a:off x="98540" y="6413219"/>
            <a:ext cx="85120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000" b="1"/>
              <a:t>Note: This refers to the Total Sales for all 3 Units (Kootha, Surjek and Jutik)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3914E745-FAD1-44A5-A192-2DAEBEEA069D}"/>
              </a:ext>
              <a:ext uri="{147F2762-F138-4A5C-976F-8EAC2B608ADB}">
                <a16:predDERef xmlns:a16="http://schemas.microsoft.com/office/drawing/2014/main" pred="{3F338F1D-7985-4FC8-AE6B-697BF872DCF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94085951"/>
              </p:ext>
            </p:extLst>
          </p:nvPr>
        </p:nvGraphicFramePr>
        <p:xfrm>
          <a:off x="98540" y="894578"/>
          <a:ext cx="4304505" cy="27540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D33C6646-CAA6-42C5-8B96-42505C6D6200}"/>
              </a:ext>
              <a:ext uri="{147F2762-F138-4A5C-976F-8EAC2B608ADB}">
                <a16:predDERef xmlns:a16="http://schemas.microsoft.com/office/drawing/2014/main" pred="{3914E745-FAD1-44A5-A192-2DAEBEEA069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33332650"/>
              </p:ext>
            </p:extLst>
          </p:nvPr>
        </p:nvGraphicFramePr>
        <p:xfrm>
          <a:off x="171451" y="3562018"/>
          <a:ext cx="4231594" cy="27591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67CA1EC3-C252-4E9C-8561-66D224FB9972}"/>
              </a:ext>
              <a:ext uri="{147F2762-F138-4A5C-976F-8EAC2B608ADB}">
                <a16:predDERef xmlns:a16="http://schemas.microsoft.com/office/drawing/2014/main" pred="{D33C6646-CAA6-42C5-8B96-42505C6D62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12361291"/>
              </p:ext>
            </p:extLst>
          </p:nvPr>
        </p:nvGraphicFramePr>
        <p:xfrm>
          <a:off x="4231594" y="894578"/>
          <a:ext cx="4558393" cy="27540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CF20D5C5-3ADB-4E88-A129-6F5F6A65419A}"/>
              </a:ext>
            </a:extLst>
          </p:cNvPr>
          <p:cNvSpPr txBox="1"/>
          <p:nvPr/>
        </p:nvSpPr>
        <p:spPr>
          <a:xfrm>
            <a:off x="4558395" y="4158683"/>
            <a:ext cx="4304506" cy="13450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ko-KR" sz="1400"/>
              <a:t>Revenue of Surjek and Jutik is increasing and revenue of Kootha is decreasing. 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ko-KR" sz="1400"/>
              <a:t>Private Water Hedge Sales shows dramatic increase on Jan for all three units. </a:t>
            </a:r>
          </a:p>
        </p:txBody>
      </p:sp>
    </p:spTree>
    <p:extLst>
      <p:ext uri="{BB962C8B-B14F-4D97-AF65-F5344CB8AC3E}">
        <p14:creationId xmlns:p14="http://schemas.microsoft.com/office/powerpoint/2010/main" val="6676576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430887"/>
          </a:xfrm>
        </p:spPr>
        <p:txBody>
          <a:bodyPr/>
          <a:lstStyle/>
          <a:p>
            <a:r>
              <a:rPr lang="en-GB" sz="1400" b="1"/>
              <a:t>Targeted Expense Analysis reveals an interesting trend; Overall Costs sharply increase(?) from December, with chemical expenditure, contributing $ 161 (25%) towards the overall cost-base. </a:t>
            </a:r>
            <a:endParaRPr lang="en-AU" sz="1400" b="1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728884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5F117873-7E93-4097-82B9-1DF9C1AE4BD5}"/>
              </a:ext>
            </a:extLst>
          </p:cNvPr>
          <p:cNvSpPr txBox="1"/>
          <p:nvPr/>
        </p:nvSpPr>
        <p:spPr>
          <a:xfrm>
            <a:off x="4656932" y="1283422"/>
            <a:ext cx="4304506" cy="23145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ko-KR" sz="1400"/>
              <a:t>Surjek shows highest expense among three units. 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ko-KR" sz="1400"/>
              <a:t>Expense of Surjek dramatically decreases on Jun-14. 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ko-KR" sz="1400"/>
              <a:t>Expense of all cost centre elements are decreasing recently.</a:t>
            </a:r>
          </a:p>
          <a:p>
            <a:pPr>
              <a:lnSpc>
                <a:spcPct val="150000"/>
              </a:lnSpc>
            </a:pPr>
            <a:endParaRPr lang="ko-KR" altLang="en-US" sz="1400"/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271C2D1A-A678-4C45-BA3E-D2167F71715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21082646"/>
              </p:ext>
            </p:extLst>
          </p:nvPr>
        </p:nvGraphicFramePr>
        <p:xfrm>
          <a:off x="0" y="841737"/>
          <a:ext cx="4780230" cy="30512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C0AD3C71-3F84-470A-A0C4-945B2EE6124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55099188"/>
              </p:ext>
            </p:extLst>
          </p:nvPr>
        </p:nvGraphicFramePr>
        <p:xfrm>
          <a:off x="510814" y="3892990"/>
          <a:ext cx="7760421" cy="26433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84428660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430887"/>
          </a:xfrm>
        </p:spPr>
        <p:txBody>
          <a:bodyPr/>
          <a:lstStyle/>
          <a:p>
            <a:r>
              <a:rPr lang="en-GB" sz="1400" b="1"/>
              <a:t>Further analysis singles-out Surjek with $179M (56%) worth of expenses, contrasted to a much lower spend from Kootha ($51 M) and Jutik ($ 90M), largely due to lower Chemical and Labour Expenditure. </a:t>
            </a:r>
            <a:endParaRPr lang="en-AU" sz="1400" b="1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728884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5BB71A51-8F4F-4AE9-9B23-AA4666F4CB9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95080038"/>
              </p:ext>
            </p:extLst>
          </p:nvPr>
        </p:nvGraphicFramePr>
        <p:xfrm>
          <a:off x="171452" y="949942"/>
          <a:ext cx="4174211" cy="28706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1B80D748-1BA6-4AB5-AA67-223BDAC38BA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65984321"/>
              </p:ext>
            </p:extLst>
          </p:nvPr>
        </p:nvGraphicFramePr>
        <p:xfrm>
          <a:off x="4328360" y="949942"/>
          <a:ext cx="4580690" cy="28706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FD4996F1-19D4-464F-80CD-35A67E807EC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03909390"/>
              </p:ext>
            </p:extLst>
          </p:nvPr>
        </p:nvGraphicFramePr>
        <p:xfrm>
          <a:off x="210329" y="3733022"/>
          <a:ext cx="4270390" cy="28706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3" name="TextBox 12">
            <a:extLst>
              <a:ext uri="{FF2B5EF4-FFF2-40B4-BE49-F238E27FC236}">
                <a16:creationId xmlns:a16="http://schemas.microsoft.com/office/drawing/2014/main" id="{F52997BD-4180-44D1-A377-A7D348F03ABD}"/>
              </a:ext>
            </a:extLst>
          </p:cNvPr>
          <p:cNvSpPr txBox="1"/>
          <p:nvPr/>
        </p:nvSpPr>
        <p:spPr>
          <a:xfrm>
            <a:off x="4519596" y="4041618"/>
            <a:ext cx="4304506" cy="19913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ko-KR" sz="1400"/>
              <a:t>Chemical and labour costs are the major costs overall. 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ko-KR" sz="1400"/>
              <a:t>Only Surjek has higher costs in Chemical than labour. Surjek is over-producing. 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ko-KR" sz="1400"/>
              <a:t>Plant amin costs is the lowest costs for all 3 units. </a:t>
            </a:r>
          </a:p>
        </p:txBody>
      </p:sp>
    </p:spTree>
    <p:extLst>
      <p:ext uri="{BB962C8B-B14F-4D97-AF65-F5344CB8AC3E}">
        <p14:creationId xmlns:p14="http://schemas.microsoft.com/office/powerpoint/2010/main" val="91141987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37163"/>
            <a:ext cx="8737599" cy="646331"/>
          </a:xfrm>
        </p:spPr>
        <p:txBody>
          <a:bodyPr/>
          <a:lstStyle/>
          <a:p>
            <a:r>
              <a:rPr lang="en-GB" sz="1400" b="1"/>
              <a:t>Drilling-down to the cost-element level, reveals an indicative relationship between water production and chemical expenditure with this being particularly pronounced for the Surjek Unit which coincidentally has the highest rate of water production. </a:t>
            </a:r>
            <a:endParaRPr lang="en-AU" sz="1400" b="1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913080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5C2788E5-D7B8-43E7-A61F-F8DCB6B5653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56385775"/>
              </p:ext>
            </p:extLst>
          </p:nvPr>
        </p:nvGraphicFramePr>
        <p:xfrm>
          <a:off x="288285" y="1129601"/>
          <a:ext cx="4036827" cy="27291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16EC3F07-E902-459D-876D-A5B13922511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59868480"/>
              </p:ext>
            </p:extLst>
          </p:nvPr>
        </p:nvGraphicFramePr>
        <p:xfrm>
          <a:off x="4391025" y="1202753"/>
          <a:ext cx="4219575" cy="265600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BC10B5AA-78B2-4114-BC22-A8A066B18FB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37839178"/>
              </p:ext>
            </p:extLst>
          </p:nvPr>
        </p:nvGraphicFramePr>
        <p:xfrm>
          <a:off x="171451" y="3858759"/>
          <a:ext cx="4464877" cy="26560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F666D2CD-79B6-4642-AC92-42E30465ED47}"/>
              </a:ext>
            </a:extLst>
          </p:cNvPr>
          <p:cNvSpPr txBox="1"/>
          <p:nvPr/>
        </p:nvSpPr>
        <p:spPr>
          <a:xfrm>
            <a:off x="4636328" y="4148431"/>
            <a:ext cx="4304506" cy="23145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ko-KR" sz="1400"/>
              <a:t>Surjek and Jutik shows similar  trend on chemical expenditure and water prodution. 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ko-KR" sz="1400"/>
              <a:t>For Kootha, water production dropped on Nov-13.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ko-KR" sz="1400"/>
              <a:t>For Kootha, last 6 months show hihger chemical costs due to the increase on soft water contribution.</a:t>
            </a:r>
          </a:p>
        </p:txBody>
      </p:sp>
    </p:spTree>
    <p:extLst>
      <p:ext uri="{BB962C8B-B14F-4D97-AF65-F5344CB8AC3E}">
        <p14:creationId xmlns:p14="http://schemas.microsoft.com/office/powerpoint/2010/main" val="277699834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623248"/>
          </a:xfrm>
        </p:spPr>
        <p:txBody>
          <a:bodyPr/>
          <a:lstStyle/>
          <a:p>
            <a:r>
              <a:rPr lang="en-AU" sz="1350" b="1"/>
              <a:t>Concluding our analysis, Jutik has the highest overall EBIT contributions ($72M), followed by Surjek ($22M) , and lastly Kootha ($19M). However, from an EBIT  Margin (%) perspective, Kootha has a higher margin than that of Surjek, indicative of a lower revenue-to-expense ratio.¹ 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D28A3BF8-BBF4-43D8-9B9B-1BA918AB5CD5}"/>
              </a:ext>
            </a:extLst>
          </p:cNvPr>
          <p:cNvCxnSpPr/>
          <p:nvPr/>
        </p:nvCxnSpPr>
        <p:spPr>
          <a:xfrm>
            <a:off x="171451" y="913080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4A55EAF1-669E-406B-B7F5-93D8A1F411D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14063541"/>
              </p:ext>
            </p:extLst>
          </p:nvPr>
        </p:nvGraphicFramePr>
        <p:xfrm>
          <a:off x="181923" y="1023065"/>
          <a:ext cx="4561806" cy="27288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A9F95668-2C5B-493A-AC1D-02E8131ACBA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01458081"/>
              </p:ext>
            </p:extLst>
          </p:nvPr>
        </p:nvGraphicFramePr>
        <p:xfrm>
          <a:off x="181923" y="3680916"/>
          <a:ext cx="4583150" cy="27288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3477ADD9-B436-4F55-ACEC-AD9739E05251}"/>
              </a:ext>
            </a:extLst>
          </p:cNvPr>
          <p:cNvSpPr txBox="1"/>
          <p:nvPr/>
        </p:nvSpPr>
        <p:spPr>
          <a:xfrm>
            <a:off x="4765073" y="1670274"/>
            <a:ext cx="4304506" cy="42535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ko-KR" sz="1400"/>
              <a:t>Jutik has lower revenue than Surjek, but Jutik has higher EBIT margin, indicating Jutik is more cost effective. 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ko-KR" sz="1400"/>
              <a:t>Surjek shows the most fluctuating graph.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ko-KR" sz="1400"/>
              <a:t>Surjek over the Oct, Nov and May periods, expenses were far higher than revenues which contributed to this lower revenue-to-expense ratio. 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ko-KR" sz="1400"/>
              <a:t>Surjek has the highest revenue, so it’s important to improve EBIT margin. 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ko-KR" sz="1400"/>
              <a:t>Kootha EBIT margin is decreasing significantly lately. </a:t>
            </a:r>
          </a:p>
          <a:p>
            <a:pPr>
              <a:lnSpc>
                <a:spcPct val="150000"/>
              </a:lnSpc>
            </a:pPr>
            <a:endParaRPr lang="en-US" altLang="ko-KR" sz="1400"/>
          </a:p>
        </p:txBody>
      </p:sp>
    </p:spTree>
    <p:extLst>
      <p:ext uri="{BB962C8B-B14F-4D97-AF65-F5344CB8AC3E}">
        <p14:creationId xmlns:p14="http://schemas.microsoft.com/office/powerpoint/2010/main" val="444805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kZuRo4kO5KlulchSHL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heme/theme1.xml><?xml version="1.0" encoding="utf-8"?>
<a:theme xmlns:a="http://schemas.openxmlformats.org/drawingml/2006/main" name="1_Synergy_CF_YNR013">
  <a:themeElements>
    <a:clrScheme name="Current">
      <a:dk1>
        <a:srgbClr val="000000"/>
      </a:dk1>
      <a:lt1>
        <a:srgbClr val="FFFFFF"/>
      </a:lt1>
      <a:dk2>
        <a:srgbClr val="FBC14E"/>
      </a:dk2>
      <a:lt2>
        <a:srgbClr val="FFFFFF"/>
      </a:lt2>
      <a:accent1>
        <a:srgbClr val="99AABE"/>
      </a:accent1>
      <a:accent2>
        <a:srgbClr val="406085"/>
      </a:accent2>
      <a:accent3>
        <a:srgbClr val="002C46"/>
      </a:accent3>
      <a:accent4>
        <a:srgbClr val="FBC14E"/>
      </a:accent4>
      <a:accent5>
        <a:srgbClr val="379BBD"/>
      </a:accent5>
      <a:accent6>
        <a:srgbClr val="808080"/>
      </a:accent6>
      <a:hlink>
        <a:srgbClr val="002C46"/>
      </a:hlink>
      <a:folHlink>
        <a:srgbClr val="FBC14E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FBC14E"/>
        </a:dk2>
        <a:lt2>
          <a:srgbClr val="FFFFFF"/>
        </a:lt2>
        <a:accent1>
          <a:srgbClr val="99AABE"/>
        </a:accent1>
        <a:accent2>
          <a:srgbClr val="406085"/>
        </a:accent2>
        <a:accent3>
          <a:srgbClr val="002C46"/>
        </a:accent3>
        <a:accent4>
          <a:srgbClr val="FBC14E"/>
        </a:accent4>
        <a:accent5>
          <a:srgbClr val="379BBD"/>
        </a:accent5>
        <a:accent6>
          <a:srgbClr val="808080"/>
        </a:accent6>
        <a:hlink>
          <a:srgbClr val="002C46"/>
        </a:hlink>
        <a:folHlink>
          <a:srgbClr val="FBC14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Synergy_CF_YNR013.potx" id="{5B0B8770-4875-4F3D-A851-ED2332DB7D84}" vid="{3E5BE603-DDA9-4662-BF9D-F22E8644910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91</Words>
  <Application>Microsoft Office PowerPoint</Application>
  <PresentationFormat>Custom</PresentationFormat>
  <Paragraphs>55</Paragraphs>
  <Slides>6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1" baseType="lpstr">
      <vt:lpstr>Arial</vt:lpstr>
      <vt:lpstr>Calibri</vt:lpstr>
      <vt:lpstr>Wingdings</vt:lpstr>
      <vt:lpstr>1_Synergy_CF_YNR013</vt:lpstr>
      <vt:lpstr>think-cell Slide</vt:lpstr>
      <vt:lpstr>Segmentation of the revenues by unit, reveals that of the three (3) customer segments, Surjek is the  most popular, followed by Jutik ($163M) and lastly Kootha Sales ($70M). </vt:lpstr>
      <vt:lpstr>Of the ($436)¹ in Revenue Sales over the July-2013 to June-2014 Period, Surjek provides close to 50% of Sales Volumes ($202), with Jutik ($ 163 M) and Kootha ($70) providing the remaining.</vt:lpstr>
      <vt:lpstr>Targeted Expense Analysis reveals an interesting trend; Overall Costs sharply increase(?) from December, with chemical expenditure, contributing $ 161 (25%) towards the overall cost-base. </vt:lpstr>
      <vt:lpstr>Further analysis singles-out Surjek with $179M (56%) worth of expenses, contrasted to a much lower spend from Kootha ($51 M) and Jutik ($ 90M), largely due to lower Chemical and Labour Expenditure. </vt:lpstr>
      <vt:lpstr>Drilling-down to the cost-element level, reveals an indicative relationship between water production and chemical expenditure with this being particularly pronounced for the Surjek Unit which coincidentally has the highest rate of water production. </vt:lpstr>
      <vt:lpstr>Concluding our analysis, Jutik has the highest overall EBIT contributions ($72M), followed by Surjek ($22M) , and lastly Kootha ($19M). However, from an EBIT  Margin (%) perspective, Kootha has a higher margin than that of Surjek, indicative of a lower revenue-to-expense ratio.¹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rough focusing our efforts on the units with the majority of questions; we can be confident that we are improving the overall User Experience etc.</dc:title>
  <dc:creator>Christopher H</dc:creator>
  <cp:lastModifiedBy>Seul Lee</cp:lastModifiedBy>
  <cp:revision>2</cp:revision>
  <dcterms:created xsi:type="dcterms:W3CDTF">2020-04-12T13:23:13Z</dcterms:created>
  <dcterms:modified xsi:type="dcterms:W3CDTF">2021-11-04T14:01:29Z</dcterms:modified>
</cp:coreProperties>
</file>